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48"/>
  </p:notesMasterIdLst>
  <p:handoutMasterIdLst>
    <p:handoutMasterId r:id="rId49"/>
  </p:handoutMasterIdLst>
  <p:sldIdLst>
    <p:sldId id="372" r:id="rId5"/>
    <p:sldId id="283" r:id="rId6"/>
    <p:sldId id="374" r:id="rId7"/>
    <p:sldId id="375" r:id="rId8"/>
    <p:sldId id="376" r:id="rId9"/>
    <p:sldId id="377" r:id="rId10"/>
    <p:sldId id="378" r:id="rId11"/>
    <p:sldId id="379" r:id="rId12"/>
    <p:sldId id="385" r:id="rId13"/>
    <p:sldId id="380" r:id="rId14"/>
    <p:sldId id="381" r:id="rId15"/>
    <p:sldId id="382" r:id="rId16"/>
    <p:sldId id="383" r:id="rId17"/>
    <p:sldId id="386" r:id="rId18"/>
    <p:sldId id="387" r:id="rId19"/>
    <p:sldId id="388" r:id="rId20"/>
    <p:sldId id="389" r:id="rId21"/>
    <p:sldId id="390" r:id="rId22"/>
    <p:sldId id="391" r:id="rId23"/>
    <p:sldId id="392" r:id="rId24"/>
    <p:sldId id="393" r:id="rId25"/>
    <p:sldId id="394" r:id="rId26"/>
    <p:sldId id="396" r:id="rId27"/>
    <p:sldId id="397" r:id="rId28"/>
    <p:sldId id="400" r:id="rId29"/>
    <p:sldId id="399" r:id="rId30"/>
    <p:sldId id="398" r:id="rId31"/>
    <p:sldId id="402" r:id="rId32"/>
    <p:sldId id="403" r:id="rId33"/>
    <p:sldId id="395" r:id="rId34"/>
    <p:sldId id="404" r:id="rId35"/>
    <p:sldId id="405" r:id="rId36"/>
    <p:sldId id="406" r:id="rId37"/>
    <p:sldId id="407" r:id="rId38"/>
    <p:sldId id="408" r:id="rId39"/>
    <p:sldId id="409" r:id="rId40"/>
    <p:sldId id="410" r:id="rId41"/>
    <p:sldId id="411" r:id="rId42"/>
    <p:sldId id="412" r:id="rId43"/>
    <p:sldId id="413" r:id="rId44"/>
    <p:sldId id="414" r:id="rId45"/>
    <p:sldId id="418" r:id="rId46"/>
    <p:sldId id="419" r:id="rId47"/>
  </p:sldIdLst>
  <p:sldSz cx="12192000" cy="6858000"/>
  <p:notesSz cx="6858000" cy="9144000"/>
  <p:custDataLst>
    <p:tags r:id="rId5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176"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rissman, James K." initials="CJK" lastIdx="2" clrIdx="0">
    <p:extLst>
      <p:ext uri="{19B8F6BF-5375-455C-9EA6-DF929625EA0E}">
        <p15:presenceInfo xmlns:p15="http://schemas.microsoft.com/office/powerpoint/2012/main" userId="S-1-5-21-286082078-1846086494-1233803906-1789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47B"/>
    <a:srgbClr val="2CBFD8"/>
    <a:srgbClr val="3DC6DB"/>
    <a:srgbClr val="5FD3F7"/>
    <a:srgbClr val="21B2F3"/>
    <a:srgbClr val="EBDD29"/>
    <a:srgbClr val="99BCE4"/>
    <a:srgbClr val="495B73"/>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1E1E705-5CDA-4113-997E-48D82D41857C}" v="1" dt="2026-04-02T15:26:47.46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196" autoAdjust="0"/>
    <p:restoredTop sz="95400" autoAdjust="0"/>
  </p:normalViewPr>
  <p:slideViewPr>
    <p:cSldViewPr snapToGrid="0" showGuides="1">
      <p:cViewPr varScale="1">
        <p:scale>
          <a:sx n="62" d="100"/>
          <a:sy n="62" d="100"/>
        </p:scale>
        <p:origin x="64" y="308"/>
      </p:cViewPr>
      <p:guideLst>
        <p:guide orient="horz" pos="1176"/>
        <p:guide pos="384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0"/>
    </p:cViewPr>
  </p:sorterViewPr>
  <p:notesViewPr>
    <p:cSldViewPr snapToGrid="0">
      <p:cViewPr varScale="1">
        <p:scale>
          <a:sx n="67" d="100"/>
          <a:sy n="67" d="100"/>
        </p:scale>
        <p:origin x="3120" y="77"/>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tags" Target="tags/tag1.xml"/><Relationship Id="rId55"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notesMaster" Target="notesMasters/notesMaster1.xml"/><Relationship Id="rId56" Type="http://schemas.microsoft.com/office/2015/10/relationships/revisionInfo" Target="revisionInfo.xml"/><Relationship Id="rId8" Type="http://schemas.openxmlformats.org/officeDocument/2006/relationships/slide" Target="slides/slide4.xml"/><Relationship Id="rId51"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898366F-E82B-40F9-A011-DD9E573C065A}" type="datetimeFigureOut">
              <a:rPr lang="en-US" smtClean="0"/>
              <a:t>4/2/2026</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A46D253-A9F7-441B-9B27-CD7E1C30D3AA}" type="slidenum">
              <a:rPr lang="en-US" smtClean="0"/>
              <a:t>‹#›</a:t>
            </a:fld>
            <a:endParaRPr lang="en-US"/>
          </a:p>
        </p:txBody>
      </p:sp>
    </p:spTree>
    <p:extLst>
      <p:ext uri="{BB962C8B-B14F-4D97-AF65-F5344CB8AC3E}">
        <p14:creationId xmlns:p14="http://schemas.microsoft.com/office/powerpoint/2010/main" val="63178450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91A8A0B-A9E2-4FB8-A06A-00CF9CB0DE35}" type="datetimeFigureOut">
              <a:rPr lang="en-US" smtClean="0"/>
              <a:t>4/2/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FF9CAC-246D-4329-9435-08A75B5B943E}" type="slidenum">
              <a:rPr lang="en-US" smtClean="0"/>
              <a:t>‹#›</a:t>
            </a:fld>
            <a:endParaRPr lang="en-US"/>
          </a:p>
        </p:txBody>
      </p:sp>
    </p:spTree>
    <p:extLst>
      <p:ext uri="{BB962C8B-B14F-4D97-AF65-F5344CB8AC3E}">
        <p14:creationId xmlns:p14="http://schemas.microsoft.com/office/powerpoint/2010/main" val="17990920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15.pn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9.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r="11700" b="11496"/>
          <a:stretch/>
        </p:blipFill>
        <p:spPr>
          <a:xfrm>
            <a:off x="0" y="-7221"/>
            <a:ext cx="12195544" cy="6875854"/>
          </a:xfrm>
          <a:prstGeom prst="rect">
            <a:avLst/>
          </a:prstGeom>
        </p:spPr>
      </p:pic>
      <p:sp>
        <p:nvSpPr>
          <p:cNvPr id="11" name="Title 1"/>
          <p:cNvSpPr txBox="1">
            <a:spLocks/>
          </p:cNvSpPr>
          <p:nvPr userDrawn="1"/>
        </p:nvSpPr>
        <p:spPr>
          <a:xfrm>
            <a:off x="992187" y="1319351"/>
            <a:ext cx="6781799" cy="762000"/>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4400" kern="1200" cap="all" baseline="0">
                <a:solidFill>
                  <a:schemeClr val="tx1">
                    <a:lumMod val="50000"/>
                  </a:schemeClr>
                </a:solidFill>
                <a:latin typeface="+mj-lt"/>
                <a:ea typeface="+mj-ea"/>
                <a:cs typeface="+mj-cs"/>
              </a:defRPr>
            </a:lvl1pPr>
          </a:lstStyle>
          <a:p>
            <a:endParaRPr lang="en-US" dirty="0">
              <a:latin typeface="Futura Md BT" panose="020B0602020204020303" pitchFamily="34" charset="0"/>
            </a:endParaRPr>
          </a:p>
        </p:txBody>
      </p:sp>
      <p:sp>
        <p:nvSpPr>
          <p:cNvPr id="4" name="Date Placeholder 3"/>
          <p:cNvSpPr>
            <a:spLocks noGrp="1"/>
          </p:cNvSpPr>
          <p:nvPr>
            <p:ph type="dt" sz="half" idx="10"/>
          </p:nvPr>
        </p:nvSpPr>
        <p:spPr>
          <a:xfrm>
            <a:off x="613841" y="6333165"/>
            <a:ext cx="2743200" cy="365125"/>
          </a:xfrm>
        </p:spPr>
        <p:txBody>
          <a:bodyPr/>
          <a:lstStyle/>
          <a:p>
            <a:fld id="{C48ADFD3-F854-41F5-BFAE-93B13FD028EA}" type="datetimeFigureOut">
              <a:rPr lang="en-US" smtClean="0"/>
              <a:t>4/2/2026</a:t>
            </a:fld>
            <a:endParaRPr lang="en-US" dirty="0"/>
          </a:p>
        </p:txBody>
      </p:sp>
      <p:sp>
        <p:nvSpPr>
          <p:cNvPr id="15" name="Text Placeholder 14"/>
          <p:cNvSpPr>
            <a:spLocks noGrp="1"/>
          </p:cNvSpPr>
          <p:nvPr>
            <p:ph type="body" sz="quarter" idx="13" hasCustomPrompt="1"/>
          </p:nvPr>
        </p:nvSpPr>
        <p:spPr>
          <a:xfrm>
            <a:off x="482198" y="3343547"/>
            <a:ext cx="7685315" cy="1863499"/>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3200" baseline="0">
                <a:solidFill>
                  <a:srgbClr val="00447B"/>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r Name (Offic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Presenter Name (Office)</a:t>
            </a:r>
          </a:p>
          <a:p>
            <a:pPr lvl="0"/>
            <a:endParaRPr lang="en-US" dirty="0"/>
          </a:p>
        </p:txBody>
      </p:sp>
      <p:sp>
        <p:nvSpPr>
          <p:cNvPr id="17" name="Text Placeholder 16"/>
          <p:cNvSpPr>
            <a:spLocks noGrp="1"/>
          </p:cNvSpPr>
          <p:nvPr>
            <p:ph type="body" sz="quarter" idx="14" hasCustomPrompt="1"/>
          </p:nvPr>
        </p:nvSpPr>
        <p:spPr>
          <a:xfrm>
            <a:off x="482198" y="2886839"/>
            <a:ext cx="3302993" cy="357188"/>
          </a:xfrm>
        </p:spPr>
        <p:txBody>
          <a:bodyPr>
            <a:normAutofit/>
          </a:bodyPr>
          <a:lstStyle>
            <a:lvl1pPr marL="0" indent="0" algn="l">
              <a:buNone/>
              <a:defRPr sz="2000">
                <a:solidFill>
                  <a:srgbClr val="00447B"/>
                </a:solidFill>
              </a:defRPr>
            </a:lvl1pPr>
          </a:lstStyle>
          <a:p>
            <a:pPr lvl="0"/>
            <a:r>
              <a:rPr lang="en-US" dirty="0"/>
              <a:t>Presented by:</a:t>
            </a:r>
          </a:p>
        </p:txBody>
      </p:sp>
      <p:sp>
        <p:nvSpPr>
          <p:cNvPr id="7" name="Text Placeholder 6"/>
          <p:cNvSpPr>
            <a:spLocks noGrp="1"/>
          </p:cNvSpPr>
          <p:nvPr>
            <p:ph type="body" sz="quarter" idx="15" hasCustomPrompt="1"/>
          </p:nvPr>
        </p:nvSpPr>
        <p:spPr>
          <a:xfrm>
            <a:off x="482198" y="786579"/>
            <a:ext cx="7685315" cy="1993257"/>
          </a:xfrm>
        </p:spPr>
        <p:txBody>
          <a:bodyPr anchor="b">
            <a:normAutofit/>
          </a:bodyPr>
          <a:lstStyle>
            <a:lvl1pPr marL="0" indent="0" algn="l">
              <a:buNone/>
              <a:defRPr sz="5400" b="1" baseline="0">
                <a:solidFill>
                  <a:srgbClr val="00447B"/>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ation Title</a:t>
            </a:r>
          </a:p>
        </p:txBody>
      </p:sp>
      <p:pic>
        <p:nvPicPr>
          <p:cNvPr id="3" name="Picture 2"/>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666944" y="5443870"/>
            <a:ext cx="1179465" cy="680024"/>
          </a:xfrm>
          <a:prstGeom prst="rect">
            <a:avLst/>
          </a:prstGeom>
        </p:spPr>
      </p:pic>
    </p:spTree>
    <p:extLst>
      <p:ext uri="{BB962C8B-B14F-4D97-AF65-F5344CB8AC3E}">
        <p14:creationId xmlns:p14="http://schemas.microsoft.com/office/powerpoint/2010/main" val="34462962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lient Pledg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Date Placeholder 2"/>
          <p:cNvSpPr>
            <a:spLocks noGrp="1"/>
          </p:cNvSpPr>
          <p:nvPr>
            <p:ph type="dt" sz="half" idx="10"/>
          </p:nvPr>
        </p:nvSpPr>
        <p:spPr/>
        <p:txBody>
          <a:bodyPr/>
          <a:lstStyle/>
          <a:p>
            <a:fld id="{C48ADFD3-F854-41F5-BFAE-93B13FD028EA}" type="datetimeFigureOut">
              <a:rPr lang="en-US" smtClean="0"/>
              <a:pPr/>
              <a:t>4/2/202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780B6AC-FBDE-415B-BDC5-8937C05D3A52}" type="slidenum">
              <a:rPr lang="en-US" smtClean="0"/>
              <a:pPr/>
              <a:t>‹#›</a:t>
            </a:fld>
            <a:endParaRPr lang="en-US" dirty="0"/>
          </a:p>
        </p:txBody>
      </p:sp>
      <p:sp>
        <p:nvSpPr>
          <p:cNvPr id="6" name="TextBox 5"/>
          <p:cNvSpPr txBox="1"/>
          <p:nvPr userDrawn="1"/>
        </p:nvSpPr>
        <p:spPr>
          <a:xfrm>
            <a:off x="423151" y="918056"/>
            <a:ext cx="6222697" cy="1323439"/>
          </a:xfrm>
          <a:prstGeom prst="rect">
            <a:avLst/>
          </a:prstGeom>
          <a:noFill/>
        </p:spPr>
        <p:txBody>
          <a:bodyPr wrap="square" rtlCol="0">
            <a:spAutoFit/>
          </a:bodyPr>
          <a:lstStyle/>
          <a:p>
            <a:pPr rtl="0">
              <a:spcAft>
                <a:spcPts val="600"/>
              </a:spcAft>
            </a:pPr>
            <a:r>
              <a:rPr lang="en-US" sz="4000" b="0" i="0" u="none" strike="noStrike" kern="1200" baseline="30000" dirty="0">
                <a:solidFill>
                  <a:schemeClr val="tx2"/>
                </a:solidFill>
                <a:latin typeface="Arial" panose="020B0604020202020204" pitchFamily="34" charset="0"/>
                <a:ea typeface="+mn-ea"/>
                <a:cs typeface="Arial" panose="020B0604020202020204" pitchFamily="34" charset="0"/>
              </a:rPr>
              <a:t>Premier client service is a firm tradition and remains our top priority. </a:t>
            </a:r>
            <a:br>
              <a:rPr lang="en-US" sz="4000" b="0" i="0" u="none" strike="noStrike" kern="1200" baseline="30000" dirty="0">
                <a:solidFill>
                  <a:schemeClr val="tx2"/>
                </a:solidFill>
                <a:latin typeface="Arial" panose="020B0604020202020204" pitchFamily="34" charset="0"/>
                <a:ea typeface="+mn-ea"/>
                <a:cs typeface="Arial" panose="020B0604020202020204" pitchFamily="34" charset="0"/>
              </a:rPr>
            </a:br>
            <a:r>
              <a:rPr lang="en-US" sz="4000" b="0" i="0" u="none" strike="noStrike" kern="1200" baseline="30000" dirty="0">
                <a:solidFill>
                  <a:schemeClr val="tx2"/>
                </a:solidFill>
                <a:latin typeface="Arial" panose="020B0604020202020204" pitchFamily="34" charset="0"/>
                <a:ea typeface="+mn-ea"/>
                <a:cs typeface="Arial" panose="020B0604020202020204" pitchFamily="34" charset="0"/>
              </a:rPr>
              <a:t>Our attorneys pledge to:</a:t>
            </a:r>
          </a:p>
        </p:txBody>
      </p:sp>
      <p:sp>
        <p:nvSpPr>
          <p:cNvPr id="2" name="TextBox 1"/>
          <p:cNvSpPr txBox="1"/>
          <p:nvPr userDrawn="1"/>
        </p:nvSpPr>
        <p:spPr>
          <a:xfrm>
            <a:off x="423150" y="2329152"/>
            <a:ext cx="6892049" cy="3154710"/>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sz="2100" dirty="0">
                <a:solidFill>
                  <a:schemeClr val="tx2"/>
                </a:solidFill>
                <a:latin typeface="Arial" panose="020B0604020202020204" pitchFamily="34" charset="0"/>
                <a:cs typeface="Arial" panose="020B0604020202020204" pitchFamily="34" charset="0"/>
              </a:rPr>
              <a:t>Understand your business and objectives</a:t>
            </a:r>
          </a:p>
          <a:p>
            <a:pPr marL="285750" indent="-285750">
              <a:spcAft>
                <a:spcPts val="600"/>
              </a:spcAft>
              <a:buFont typeface="Arial" panose="020B0604020202020204" pitchFamily="34" charset="0"/>
              <a:buChar char="•"/>
            </a:pPr>
            <a:r>
              <a:rPr lang="en-US" sz="2100" dirty="0">
                <a:solidFill>
                  <a:schemeClr val="tx2"/>
                </a:solidFill>
                <a:latin typeface="Arial" panose="020B0604020202020204" pitchFamily="34" charset="0"/>
                <a:cs typeface="Arial" panose="020B0604020202020204" pitchFamily="34" charset="0"/>
              </a:rPr>
              <a:t>Focus on and anticipate your needs</a:t>
            </a:r>
          </a:p>
          <a:p>
            <a:pPr marL="285750" indent="-285750">
              <a:spcAft>
                <a:spcPts val="600"/>
              </a:spcAft>
              <a:buFont typeface="Arial" panose="020B0604020202020204" pitchFamily="34" charset="0"/>
              <a:buChar char="•"/>
            </a:pPr>
            <a:r>
              <a:rPr lang="en-US" sz="2100" dirty="0">
                <a:solidFill>
                  <a:schemeClr val="tx2"/>
                </a:solidFill>
                <a:latin typeface="Arial" panose="020B0604020202020204" pitchFamily="34" charset="0"/>
                <a:cs typeface="Arial" panose="020B0604020202020204" pitchFamily="34" charset="0"/>
              </a:rPr>
              <a:t>Collaborate to develop creative business solutions</a:t>
            </a:r>
          </a:p>
          <a:p>
            <a:pPr marL="285750" indent="-285750">
              <a:spcAft>
                <a:spcPts val="600"/>
              </a:spcAft>
              <a:buFont typeface="Arial" panose="020B0604020202020204" pitchFamily="34" charset="0"/>
              <a:buChar char="•"/>
            </a:pPr>
            <a:r>
              <a:rPr lang="en-US" sz="2100" dirty="0">
                <a:solidFill>
                  <a:schemeClr val="tx2"/>
                </a:solidFill>
                <a:latin typeface="Arial" panose="020B0604020202020204" pitchFamily="34" charset="0"/>
                <a:cs typeface="Arial" panose="020B0604020202020204" pitchFamily="34" charset="0"/>
              </a:rPr>
              <a:t>Harness technology and innovation to better serve your interests</a:t>
            </a:r>
          </a:p>
          <a:p>
            <a:pPr marL="285750" indent="-285750">
              <a:spcAft>
                <a:spcPts val="600"/>
              </a:spcAft>
              <a:buFont typeface="Arial" panose="020B0604020202020204" pitchFamily="34" charset="0"/>
              <a:buChar char="•"/>
            </a:pPr>
            <a:r>
              <a:rPr lang="en-US" sz="2100" dirty="0">
                <a:solidFill>
                  <a:schemeClr val="tx2"/>
                </a:solidFill>
                <a:latin typeface="Arial" panose="020B0604020202020204" pitchFamily="34" charset="0"/>
                <a:cs typeface="Arial" panose="020B0604020202020204" pitchFamily="34" charset="0"/>
              </a:rPr>
              <a:t>Communicate in a timely and effective manner</a:t>
            </a:r>
          </a:p>
          <a:p>
            <a:pPr marL="285750" indent="-285750">
              <a:spcAft>
                <a:spcPts val="600"/>
              </a:spcAft>
              <a:buFont typeface="Arial" panose="020B0604020202020204" pitchFamily="34" charset="0"/>
              <a:buChar char="•"/>
            </a:pPr>
            <a:r>
              <a:rPr lang="en-US" sz="2100" dirty="0">
                <a:solidFill>
                  <a:schemeClr val="tx2"/>
                </a:solidFill>
                <a:latin typeface="Arial" panose="020B0604020202020204" pitchFamily="34" charset="0"/>
                <a:cs typeface="Arial" panose="020B0604020202020204" pitchFamily="34" charset="0"/>
              </a:rPr>
              <a:t>Provide quality representation with exceptional value</a:t>
            </a:r>
          </a:p>
          <a:p>
            <a:pPr marL="285750" indent="-285750">
              <a:spcAft>
                <a:spcPts val="600"/>
              </a:spcAft>
              <a:buFont typeface="Arial" panose="020B0604020202020204" pitchFamily="34" charset="0"/>
              <a:buChar char="•"/>
            </a:pPr>
            <a:endParaRPr lang="en-US" sz="2200" dirty="0">
              <a:solidFill>
                <a:schemeClr val="tx2"/>
              </a:solidFill>
              <a:latin typeface="Arial" panose="020B0604020202020204" pitchFamily="34" charset="0"/>
              <a:cs typeface="Arial" panose="020B0604020202020204" pitchFamily="34" charset="0"/>
            </a:endParaRP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7021701" y="1803871"/>
            <a:ext cx="5142118" cy="2571060"/>
          </a:xfrm>
          <a:prstGeom prst="rect">
            <a:avLst/>
          </a:prstGeom>
        </p:spPr>
      </p:pic>
    </p:spTree>
    <p:extLst>
      <p:ext uri="{BB962C8B-B14F-4D97-AF65-F5344CB8AC3E}">
        <p14:creationId xmlns:p14="http://schemas.microsoft.com/office/powerpoint/2010/main" val="35837438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Office Listing">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Date Placeholder 2"/>
          <p:cNvSpPr>
            <a:spLocks noGrp="1"/>
          </p:cNvSpPr>
          <p:nvPr>
            <p:ph type="dt" sz="half" idx="10"/>
          </p:nvPr>
        </p:nvSpPr>
        <p:spPr/>
        <p:txBody>
          <a:bodyPr/>
          <a:lstStyle/>
          <a:p>
            <a:fld id="{C48ADFD3-F854-41F5-BFAE-93B13FD028EA}" type="datetimeFigureOut">
              <a:rPr lang="en-US" smtClean="0"/>
              <a:t>4/2/2026</a:t>
            </a:fld>
            <a:endParaRPr lang="en-US"/>
          </a:p>
        </p:txBody>
      </p:sp>
      <p:sp>
        <p:nvSpPr>
          <p:cNvPr id="10"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11" name="Slide Number Placeholder 5"/>
          <p:cNvSpPr>
            <a:spLocks noGrp="1"/>
          </p:cNvSpPr>
          <p:nvPr>
            <p:ph type="sldNum" sz="quarter" idx="12"/>
          </p:nvPr>
        </p:nvSpPr>
        <p:spPr>
          <a:xfrm>
            <a:off x="8610600" y="6356350"/>
            <a:ext cx="2743200" cy="365125"/>
          </a:xfrm>
          <a:prstGeom prst="rect">
            <a:avLst/>
          </a:prstGeom>
        </p:spPr>
        <p:txBody>
          <a:bodyPr/>
          <a:lstStyle/>
          <a:p>
            <a:fld id="{6780B6AC-FBDE-415B-BDC5-8937C05D3A52}" type="slidenum">
              <a:rPr lang="en-US" smtClean="0"/>
              <a:t>‹#›</a:t>
            </a:fld>
            <a:endParaRPr lang="en-US"/>
          </a:p>
        </p:txBody>
      </p:sp>
      <p:pic>
        <p:nvPicPr>
          <p:cNvPr id="12" name="Picture 11"/>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1081437" y="6156800"/>
            <a:ext cx="838422" cy="483395"/>
          </a:xfrm>
          <a:prstGeom prst="rect">
            <a:avLst/>
          </a:prstGeom>
        </p:spPr>
      </p:pic>
      <p:sp>
        <p:nvSpPr>
          <p:cNvPr id="21" name="Rectangle 20">
            <a:extLst>
              <a:ext uri="{FF2B5EF4-FFF2-40B4-BE49-F238E27FC236}">
                <a16:creationId xmlns:a16="http://schemas.microsoft.com/office/drawing/2014/main" id="{14C2A365-8AB2-9071-717E-B9BB1BC88975}"/>
              </a:ext>
            </a:extLst>
          </p:cNvPr>
          <p:cNvSpPr/>
          <p:nvPr userDrawn="1"/>
        </p:nvSpPr>
        <p:spPr>
          <a:xfrm>
            <a:off x="3302314" y="158750"/>
            <a:ext cx="5587372" cy="923330"/>
          </a:xfrm>
          <a:prstGeom prst="rect">
            <a:avLst/>
          </a:prstGeom>
        </p:spPr>
        <p:txBody>
          <a:bodyPr wrap="square">
            <a:spAutoFit/>
          </a:bodyPr>
          <a:lstStyle/>
          <a:p>
            <a:pPr algn="ctr" eaLnBrk="1" fontAlgn="auto" hangingPunct="1">
              <a:spcBef>
                <a:spcPts val="0"/>
              </a:spcBef>
              <a:spcAft>
                <a:spcPts val="0"/>
              </a:spcAft>
              <a:defRPr/>
            </a:pPr>
            <a:r>
              <a:rPr kumimoji="0" lang="en-US" sz="5400" b="0" kern="0" dirty="0">
                <a:solidFill>
                  <a:srgbClr val="00447B"/>
                </a:solidFill>
                <a:latin typeface="+mj-lt"/>
              </a:rPr>
              <a:t>Our 60 Offices</a:t>
            </a:r>
          </a:p>
        </p:txBody>
      </p:sp>
      <p:sp>
        <p:nvSpPr>
          <p:cNvPr id="4" name="Rectangle 3">
            <a:extLst>
              <a:ext uri="{FF2B5EF4-FFF2-40B4-BE49-F238E27FC236}">
                <a16:creationId xmlns:a16="http://schemas.microsoft.com/office/drawing/2014/main" id="{D7E0081B-E1FD-9F7A-0B60-0624CED1967E}"/>
              </a:ext>
            </a:extLst>
          </p:cNvPr>
          <p:cNvSpPr>
            <a:spLocks noChangeArrowheads="1"/>
          </p:cNvSpPr>
          <p:nvPr userDrawn="1"/>
        </p:nvSpPr>
        <p:spPr bwMode="auto">
          <a:xfrm>
            <a:off x="1061728" y="1392147"/>
            <a:ext cx="1975016" cy="4305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chorCtr="1">
            <a:noAutofit/>
          </a:bodyPr>
          <a:lstStyle>
            <a:lvl1pPr>
              <a:defRPr kumimoji="1" sz="2400">
                <a:solidFill>
                  <a:schemeClr val="tx1"/>
                </a:solidFill>
                <a:latin typeface="Arial" charset="0"/>
              </a:defRPr>
            </a:lvl1pPr>
            <a:lvl2pPr marL="742950" indent="-285750">
              <a:defRPr kumimoji="1" sz="2400">
                <a:solidFill>
                  <a:schemeClr val="tx1"/>
                </a:solidFill>
                <a:latin typeface="Arial" charset="0"/>
              </a:defRPr>
            </a:lvl2pPr>
            <a:lvl3pPr marL="1143000" indent="-228600">
              <a:defRPr kumimoji="1" sz="2400">
                <a:solidFill>
                  <a:schemeClr val="tx1"/>
                </a:solidFill>
                <a:latin typeface="Arial" charset="0"/>
              </a:defRPr>
            </a:lvl3pPr>
            <a:lvl4pPr marL="1600200" indent="-228600">
              <a:defRPr kumimoji="1" sz="2400">
                <a:solidFill>
                  <a:schemeClr val="tx1"/>
                </a:solidFill>
                <a:latin typeface="Arial" charset="0"/>
              </a:defRPr>
            </a:lvl4pPr>
            <a:lvl5pPr marL="2057400" indent="-228600">
              <a:defRPr kumimoji="1" sz="2400">
                <a:solidFill>
                  <a:schemeClr val="tx1"/>
                </a:solidFill>
                <a:latin typeface="Arial" charset="0"/>
              </a:defRPr>
            </a:lvl5pPr>
            <a:lvl6pPr marL="2514600" indent="-228600" eaLnBrk="0" fontAlgn="base" hangingPunct="0">
              <a:spcBef>
                <a:spcPct val="0"/>
              </a:spcBef>
              <a:spcAft>
                <a:spcPct val="0"/>
              </a:spcAft>
              <a:defRPr kumimoji="1" sz="2400">
                <a:solidFill>
                  <a:schemeClr val="tx1"/>
                </a:solidFill>
                <a:latin typeface="Arial" charset="0"/>
              </a:defRPr>
            </a:lvl6pPr>
            <a:lvl7pPr marL="2971800" indent="-228600" eaLnBrk="0" fontAlgn="base" hangingPunct="0">
              <a:spcBef>
                <a:spcPct val="0"/>
              </a:spcBef>
              <a:spcAft>
                <a:spcPct val="0"/>
              </a:spcAft>
              <a:defRPr kumimoji="1" sz="2400">
                <a:solidFill>
                  <a:schemeClr val="tx1"/>
                </a:solidFill>
                <a:latin typeface="Arial" charset="0"/>
              </a:defRPr>
            </a:lvl7pPr>
            <a:lvl8pPr marL="3429000" indent="-228600" eaLnBrk="0" fontAlgn="base" hangingPunct="0">
              <a:spcBef>
                <a:spcPct val="0"/>
              </a:spcBef>
              <a:spcAft>
                <a:spcPct val="0"/>
              </a:spcAft>
              <a:defRPr kumimoji="1" sz="2400">
                <a:solidFill>
                  <a:schemeClr val="tx1"/>
                </a:solidFill>
                <a:latin typeface="Arial" charset="0"/>
              </a:defRPr>
            </a:lvl8pPr>
            <a:lvl9pPr marL="3886200" indent="-228600" eaLnBrk="0" fontAlgn="base" hangingPunct="0">
              <a:spcBef>
                <a:spcPct val="0"/>
              </a:spcBef>
              <a:spcAft>
                <a:spcPct val="0"/>
              </a:spcAft>
              <a:defRPr kumimoji="1" sz="2400">
                <a:solidFill>
                  <a:schemeClr val="tx1"/>
                </a:solidFill>
                <a:latin typeface="Arial" charset="0"/>
              </a:defRPr>
            </a:lvl9pPr>
          </a:lstStyle>
          <a:p>
            <a:pPr>
              <a:lnSpc>
                <a:spcPct val="100000"/>
              </a:lnSpc>
              <a:defRPr/>
            </a:pPr>
            <a:r>
              <a:rPr lang="en-US" altLang="en-US" sz="1800" spc="-10" dirty="0">
                <a:solidFill>
                  <a:srgbClr val="0079A5"/>
                </a:solidFill>
                <a:latin typeface="+mn-lt"/>
              </a:rPr>
              <a:t>Atlanta</a:t>
            </a:r>
          </a:p>
          <a:p>
            <a:pPr>
              <a:lnSpc>
                <a:spcPct val="100000"/>
              </a:lnSpc>
              <a:defRPr/>
            </a:pPr>
            <a:r>
              <a:rPr lang="en-US" altLang="en-US" sz="1800" spc="-10" dirty="0">
                <a:solidFill>
                  <a:srgbClr val="0079A5"/>
                </a:solidFill>
                <a:latin typeface="+mn-lt"/>
              </a:rPr>
              <a:t>Austin</a:t>
            </a:r>
          </a:p>
          <a:p>
            <a:pPr>
              <a:lnSpc>
                <a:spcPct val="100000"/>
              </a:lnSpc>
              <a:defRPr/>
            </a:pPr>
            <a:r>
              <a:rPr lang="en-US" altLang="en-US" sz="1800" spc="-10" dirty="0">
                <a:solidFill>
                  <a:srgbClr val="0079A5"/>
                </a:solidFill>
                <a:latin typeface="+mn-lt"/>
              </a:rPr>
              <a:t>Baltimore</a:t>
            </a:r>
            <a:br>
              <a:rPr lang="en-US" altLang="en-US" sz="1800" spc="-10" dirty="0">
                <a:solidFill>
                  <a:srgbClr val="0079A5"/>
                </a:solidFill>
                <a:latin typeface="+mn-lt"/>
              </a:rPr>
            </a:br>
            <a:r>
              <a:rPr lang="en-US" altLang="en-US" sz="1800" spc="-10" dirty="0">
                <a:solidFill>
                  <a:srgbClr val="0079A5"/>
                </a:solidFill>
                <a:latin typeface="+mn-lt"/>
              </a:rPr>
              <a:t>Berlin</a:t>
            </a:r>
          </a:p>
          <a:p>
            <a:pPr>
              <a:lnSpc>
                <a:spcPct val="100000"/>
              </a:lnSpc>
              <a:defRPr/>
            </a:pPr>
            <a:r>
              <a:rPr lang="en-US" altLang="en-US" sz="1800" spc="-10" dirty="0">
                <a:solidFill>
                  <a:srgbClr val="0079A5"/>
                </a:solidFill>
                <a:latin typeface="+mn-lt"/>
              </a:rPr>
              <a:t>Birmingham</a:t>
            </a:r>
          </a:p>
          <a:p>
            <a:pPr>
              <a:lnSpc>
                <a:spcPct val="100000"/>
              </a:lnSpc>
              <a:defRPr/>
            </a:pPr>
            <a:r>
              <a:rPr lang="en-US" altLang="en-US" sz="1800" spc="-10" dirty="0">
                <a:solidFill>
                  <a:srgbClr val="0079A5"/>
                </a:solidFill>
                <a:latin typeface="+mn-lt"/>
              </a:rPr>
              <a:t>Boston</a:t>
            </a:r>
            <a:br>
              <a:rPr lang="en-US" altLang="en-US" sz="1800" spc="-10" dirty="0">
                <a:solidFill>
                  <a:srgbClr val="0079A5"/>
                </a:solidFill>
                <a:latin typeface="+mn-lt"/>
              </a:rPr>
            </a:br>
            <a:r>
              <a:rPr lang="en-US" altLang="en-US" sz="1800" spc="-10" dirty="0">
                <a:solidFill>
                  <a:srgbClr val="0079A5"/>
                </a:solidFill>
                <a:latin typeface="+mn-lt"/>
              </a:rPr>
              <a:t>Buffalo</a:t>
            </a:r>
          </a:p>
          <a:p>
            <a:pPr>
              <a:lnSpc>
                <a:spcPct val="100000"/>
              </a:lnSpc>
              <a:defRPr/>
            </a:pPr>
            <a:r>
              <a:rPr lang="en-US" altLang="en-US" sz="1800" spc="-10" dirty="0">
                <a:solidFill>
                  <a:srgbClr val="0079A5"/>
                </a:solidFill>
                <a:latin typeface="+mn-lt"/>
              </a:rPr>
              <a:t>Calgary</a:t>
            </a:r>
            <a:br>
              <a:rPr lang="en-US" altLang="en-US" sz="1800" spc="-10" dirty="0">
                <a:solidFill>
                  <a:srgbClr val="0079A5"/>
                </a:solidFill>
                <a:latin typeface="+mn-lt"/>
              </a:rPr>
            </a:br>
            <a:r>
              <a:rPr lang="en-US" altLang="en-US" sz="1800" spc="-10" dirty="0">
                <a:solidFill>
                  <a:srgbClr val="0079A5"/>
                </a:solidFill>
                <a:latin typeface="+mn-lt"/>
              </a:rPr>
              <a:t>Charleston</a:t>
            </a:r>
          </a:p>
          <a:p>
            <a:pPr>
              <a:lnSpc>
                <a:spcPct val="100000"/>
              </a:lnSpc>
              <a:defRPr/>
            </a:pPr>
            <a:r>
              <a:rPr lang="en-US" altLang="en-US" sz="1800" spc="-10" dirty="0">
                <a:solidFill>
                  <a:srgbClr val="0079A5"/>
                </a:solidFill>
                <a:latin typeface="+mn-lt"/>
              </a:rPr>
              <a:t>Charlotte</a:t>
            </a:r>
          </a:p>
          <a:p>
            <a:pPr>
              <a:lnSpc>
                <a:spcPct val="100000"/>
              </a:lnSpc>
              <a:defRPr/>
            </a:pPr>
            <a:r>
              <a:rPr lang="en-US" altLang="en-US" sz="1800" spc="-10" dirty="0">
                <a:solidFill>
                  <a:srgbClr val="0079A5"/>
                </a:solidFill>
                <a:latin typeface="+mn-lt"/>
              </a:rPr>
              <a:t>Chicago</a:t>
            </a:r>
          </a:p>
          <a:p>
            <a:pPr>
              <a:lnSpc>
                <a:spcPct val="100000"/>
              </a:lnSpc>
              <a:defRPr/>
            </a:pPr>
            <a:r>
              <a:rPr lang="en-US" altLang="en-US" sz="1800" spc="-10" dirty="0">
                <a:solidFill>
                  <a:srgbClr val="0079A5"/>
                </a:solidFill>
                <a:latin typeface="+mn-lt"/>
              </a:rPr>
              <a:t>Cleveland</a:t>
            </a:r>
          </a:p>
          <a:p>
            <a:pPr>
              <a:lnSpc>
                <a:spcPct val="100000"/>
              </a:lnSpc>
              <a:defRPr/>
            </a:pPr>
            <a:r>
              <a:rPr lang="en-US" altLang="en-US" sz="1800" spc="-10" dirty="0">
                <a:solidFill>
                  <a:srgbClr val="0079A5"/>
                </a:solidFill>
                <a:latin typeface="+mn-lt"/>
              </a:rPr>
              <a:t>Columbia</a:t>
            </a:r>
          </a:p>
          <a:p>
            <a:pPr>
              <a:lnSpc>
                <a:spcPct val="100000"/>
              </a:lnSpc>
              <a:defRPr/>
            </a:pPr>
            <a:r>
              <a:rPr lang="en-US" altLang="en-US" sz="1800" spc="-10" dirty="0">
                <a:solidFill>
                  <a:srgbClr val="0079A5"/>
                </a:solidFill>
                <a:latin typeface="+mn-lt"/>
              </a:rPr>
              <a:t>Columbus</a:t>
            </a:r>
          </a:p>
          <a:p>
            <a:pPr>
              <a:lnSpc>
                <a:spcPct val="100000"/>
              </a:lnSpc>
              <a:defRPr/>
            </a:pPr>
            <a:r>
              <a:rPr lang="en-US" altLang="en-US" sz="1800" spc="-10" dirty="0">
                <a:solidFill>
                  <a:srgbClr val="0079A5"/>
                </a:solidFill>
                <a:latin typeface="+mn-lt"/>
              </a:rPr>
              <a:t>Dallas</a:t>
            </a:r>
          </a:p>
          <a:p>
            <a:pPr>
              <a:lnSpc>
                <a:spcPct val="100000"/>
              </a:lnSpc>
              <a:defRPr/>
            </a:pPr>
            <a:r>
              <a:rPr lang="en-US" altLang="en-US" sz="1800" spc="-10" dirty="0">
                <a:solidFill>
                  <a:srgbClr val="0079A5"/>
                </a:solidFill>
                <a:latin typeface="+mn-lt"/>
              </a:rPr>
              <a:t>Denver</a:t>
            </a:r>
          </a:p>
        </p:txBody>
      </p:sp>
      <p:sp>
        <p:nvSpPr>
          <p:cNvPr id="5" name="Rectangle 4">
            <a:extLst>
              <a:ext uri="{FF2B5EF4-FFF2-40B4-BE49-F238E27FC236}">
                <a16:creationId xmlns:a16="http://schemas.microsoft.com/office/drawing/2014/main" id="{4DE84539-0560-7793-1BBD-B27ADEEC0179}"/>
              </a:ext>
            </a:extLst>
          </p:cNvPr>
          <p:cNvSpPr/>
          <p:nvPr userDrawn="1"/>
        </p:nvSpPr>
        <p:spPr>
          <a:xfrm>
            <a:off x="3705033" y="1062736"/>
            <a:ext cx="2017713" cy="5272360"/>
          </a:xfrm>
          <a:prstGeom prst="rect">
            <a:avLst/>
          </a:prstGeom>
        </p:spPr>
        <p:txBody>
          <a:bodyPr anchor="ctr">
            <a:noAutofit/>
          </a:bodyPr>
          <a:lstStyle/>
          <a:p>
            <a:pPr marL="0" marR="0" lvl="0" indent="0" algn="l" defTabSz="914400" rtl="0" eaLnBrk="1" fontAlgn="auto" latinLnBrk="0" hangingPunct="1">
              <a:lnSpc>
                <a:spcPts val="2300"/>
              </a:lnSpc>
              <a:spcBef>
                <a:spcPts val="0"/>
              </a:spcBef>
              <a:spcAft>
                <a:spcPts val="0"/>
              </a:spcAft>
              <a:buClrTx/>
              <a:buSzTx/>
              <a:buFontTx/>
              <a:buNone/>
              <a:tabLst/>
              <a:defRPr/>
            </a:pPr>
            <a:r>
              <a:rPr lang="en-US" altLang="en-US" sz="1800" spc="-10" dirty="0">
                <a:solidFill>
                  <a:srgbClr val="0079A5"/>
                </a:solidFill>
                <a:latin typeface="+mn-lt"/>
              </a:rPr>
              <a:t>Detroit (Metro)</a:t>
            </a:r>
            <a:endParaRPr lang="en-US" altLang="en-US" sz="1800" spc="-20" dirty="0">
              <a:solidFill>
                <a:srgbClr val="0079A5"/>
              </a:solidFill>
              <a:latin typeface="+mn-lt"/>
            </a:endParaRPr>
          </a:p>
          <a:p>
            <a:pPr>
              <a:lnSpc>
                <a:spcPts val="2300"/>
              </a:lnSpc>
              <a:defRPr/>
            </a:pPr>
            <a:r>
              <a:rPr lang="en-US" altLang="en-US" sz="1800" spc="-10" dirty="0">
                <a:solidFill>
                  <a:srgbClr val="0079A5"/>
                </a:solidFill>
                <a:latin typeface="+mn-lt"/>
              </a:rPr>
              <a:t>Fresno</a:t>
            </a:r>
          </a:p>
          <a:p>
            <a:pPr>
              <a:lnSpc>
                <a:spcPts val="2300"/>
              </a:lnSpc>
              <a:defRPr/>
            </a:pPr>
            <a:r>
              <a:rPr lang="en-US" altLang="en-US" sz="1800" spc="-10" dirty="0">
                <a:solidFill>
                  <a:srgbClr val="0079A5"/>
                </a:solidFill>
                <a:latin typeface="+mn-lt"/>
              </a:rPr>
              <a:t>Greenville</a:t>
            </a:r>
          </a:p>
          <a:p>
            <a:pPr>
              <a:lnSpc>
                <a:spcPts val="2300"/>
              </a:lnSpc>
              <a:defRPr/>
            </a:pPr>
            <a:r>
              <a:rPr lang="en-US" altLang="en-US" sz="1800" spc="-10" dirty="0">
                <a:solidFill>
                  <a:srgbClr val="0079A5"/>
                </a:solidFill>
                <a:latin typeface="+mn-lt"/>
              </a:rPr>
              <a:t>Houston</a:t>
            </a:r>
          </a:p>
          <a:p>
            <a:pPr>
              <a:lnSpc>
                <a:spcPts val="2300"/>
              </a:lnSpc>
              <a:defRPr/>
            </a:pPr>
            <a:r>
              <a:rPr lang="en-US" altLang="en-US" sz="1800" spc="-10" dirty="0">
                <a:solidFill>
                  <a:srgbClr val="0079A5"/>
                </a:solidFill>
                <a:latin typeface="+mn-lt"/>
              </a:rPr>
              <a:t>Indianapolis</a:t>
            </a:r>
          </a:p>
          <a:p>
            <a:pPr>
              <a:lnSpc>
                <a:spcPts val="2300"/>
              </a:lnSpc>
              <a:defRPr/>
            </a:pPr>
            <a:r>
              <a:rPr lang="en-US" altLang="en-US" sz="1800" spc="-10" dirty="0">
                <a:solidFill>
                  <a:srgbClr val="0079A5"/>
                </a:solidFill>
                <a:latin typeface="+mn-lt"/>
              </a:rPr>
              <a:t>Kansas City</a:t>
            </a:r>
            <a:br>
              <a:rPr lang="en-US" altLang="en-US" sz="1800" spc="-10" dirty="0">
                <a:solidFill>
                  <a:srgbClr val="0079A5"/>
                </a:solidFill>
                <a:latin typeface="+mn-lt"/>
              </a:rPr>
            </a:br>
            <a:r>
              <a:rPr lang="en-US" altLang="en-US" sz="1800" spc="-10" dirty="0">
                <a:solidFill>
                  <a:srgbClr val="0079A5"/>
                </a:solidFill>
                <a:latin typeface="+mn-lt"/>
              </a:rPr>
              <a:t>Las Vegas</a:t>
            </a:r>
          </a:p>
          <a:p>
            <a:pPr>
              <a:lnSpc>
                <a:spcPts val="2300"/>
              </a:lnSpc>
              <a:defRPr/>
            </a:pPr>
            <a:r>
              <a:rPr lang="en-US" altLang="en-US" sz="1800" spc="-10" dirty="0">
                <a:solidFill>
                  <a:srgbClr val="0079A5"/>
                </a:solidFill>
                <a:latin typeface="+mn-lt"/>
              </a:rPr>
              <a:t>Lexington</a:t>
            </a:r>
          </a:p>
          <a:p>
            <a:pPr>
              <a:lnSpc>
                <a:spcPts val="2300"/>
              </a:lnSpc>
              <a:defRPr/>
            </a:pPr>
            <a:r>
              <a:rPr lang="en-US" altLang="en-US" sz="1800" spc="-10" dirty="0">
                <a:solidFill>
                  <a:srgbClr val="0079A5"/>
                </a:solidFill>
                <a:latin typeface="+mn-lt"/>
              </a:rPr>
              <a:t>London</a:t>
            </a:r>
          </a:p>
          <a:p>
            <a:pPr>
              <a:lnSpc>
                <a:spcPts val="2300"/>
              </a:lnSpc>
              <a:defRPr/>
            </a:pPr>
            <a:r>
              <a:rPr lang="en-US" altLang="en-US" sz="1800" spc="-10" dirty="0">
                <a:solidFill>
                  <a:srgbClr val="0079A5"/>
                </a:solidFill>
                <a:latin typeface="+mn-lt"/>
              </a:rPr>
              <a:t>Los Angeles</a:t>
            </a:r>
          </a:p>
          <a:p>
            <a:pPr>
              <a:lnSpc>
                <a:spcPts val="2300"/>
              </a:lnSpc>
              <a:defRPr/>
            </a:pPr>
            <a:r>
              <a:rPr lang="en-US" altLang="en-US" sz="1800" spc="-10" dirty="0">
                <a:solidFill>
                  <a:srgbClr val="0079A5"/>
                </a:solidFill>
                <a:latin typeface="+mn-lt"/>
              </a:rPr>
              <a:t>Memphis</a:t>
            </a:r>
          </a:p>
          <a:p>
            <a:pPr>
              <a:lnSpc>
                <a:spcPts val="2300"/>
              </a:lnSpc>
              <a:defRPr/>
            </a:pPr>
            <a:r>
              <a:rPr lang="en-US" altLang="en-US" sz="1800" spc="-10" dirty="0">
                <a:solidFill>
                  <a:srgbClr val="0079A5"/>
                </a:solidFill>
                <a:latin typeface="+mn-lt"/>
              </a:rPr>
              <a:t>Mexico City</a:t>
            </a:r>
          </a:p>
          <a:p>
            <a:pPr>
              <a:lnSpc>
                <a:spcPts val="2300"/>
              </a:lnSpc>
              <a:defRPr/>
            </a:pPr>
            <a:r>
              <a:rPr lang="en-US" altLang="en-US" sz="1800" spc="-10" dirty="0">
                <a:solidFill>
                  <a:srgbClr val="0079A5"/>
                </a:solidFill>
                <a:latin typeface="+mn-lt"/>
              </a:rPr>
              <a:t>Miami</a:t>
            </a:r>
          </a:p>
          <a:p>
            <a:pPr>
              <a:lnSpc>
                <a:spcPts val="2300"/>
              </a:lnSpc>
              <a:defRPr/>
            </a:pPr>
            <a:r>
              <a:rPr lang="en-US" altLang="en-US" sz="1800" spc="-10" dirty="0">
                <a:solidFill>
                  <a:srgbClr val="0079A5"/>
                </a:solidFill>
                <a:latin typeface="+mn-lt"/>
              </a:rPr>
              <a:t>Milwaukee</a:t>
            </a:r>
          </a:p>
          <a:p>
            <a:pPr>
              <a:lnSpc>
                <a:spcPts val="2300"/>
              </a:lnSpc>
              <a:defRPr/>
            </a:pPr>
            <a:r>
              <a:rPr lang="en-US" altLang="en-US" sz="1800" spc="-10" dirty="0">
                <a:solidFill>
                  <a:srgbClr val="0079A5"/>
                </a:solidFill>
                <a:latin typeface="+mn-lt"/>
              </a:rPr>
              <a:t>Minneapolis</a:t>
            </a:r>
          </a:p>
          <a:p>
            <a:pPr>
              <a:lnSpc>
                <a:spcPts val="2450"/>
              </a:lnSpc>
              <a:defRPr/>
            </a:pPr>
            <a:endParaRPr lang="en-US" altLang="en-US" sz="1800" spc="-10" dirty="0">
              <a:solidFill>
                <a:srgbClr val="0079A5"/>
              </a:solidFill>
              <a:latin typeface="+mn-lt"/>
            </a:endParaRPr>
          </a:p>
        </p:txBody>
      </p:sp>
      <p:sp>
        <p:nvSpPr>
          <p:cNvPr id="6" name="Rectangle 5">
            <a:extLst>
              <a:ext uri="{FF2B5EF4-FFF2-40B4-BE49-F238E27FC236}">
                <a16:creationId xmlns:a16="http://schemas.microsoft.com/office/drawing/2014/main" id="{126FF513-EB2B-84D4-4214-8AA0E48B6911}"/>
              </a:ext>
            </a:extLst>
          </p:cNvPr>
          <p:cNvSpPr/>
          <p:nvPr userDrawn="1"/>
        </p:nvSpPr>
        <p:spPr>
          <a:xfrm>
            <a:off x="6267210" y="1420722"/>
            <a:ext cx="2138436" cy="4550319"/>
          </a:xfrm>
          <a:prstGeom prst="rect">
            <a:avLst/>
          </a:prstGeom>
        </p:spPr>
        <p:txBody>
          <a:bodyPr wrap="square" anchor="ctr">
            <a:noAutofit/>
          </a:bodyPr>
          <a:lstStyle/>
          <a:p>
            <a:pPr marL="0" marR="0" lvl="0" indent="0" algn="l" defTabSz="914400" rtl="0" eaLnBrk="1" fontAlgn="auto" latinLnBrk="0" hangingPunct="1">
              <a:lnSpc>
                <a:spcPts val="2500"/>
              </a:lnSpc>
              <a:spcBef>
                <a:spcPts val="0"/>
              </a:spcBef>
              <a:spcAft>
                <a:spcPts val="0"/>
              </a:spcAft>
              <a:buClrTx/>
              <a:buSzTx/>
              <a:buFontTx/>
              <a:buNone/>
              <a:tabLst/>
              <a:defRPr/>
            </a:pPr>
            <a:r>
              <a:rPr lang="en-US" altLang="en-US" sz="1800" spc="-10" dirty="0">
                <a:solidFill>
                  <a:srgbClr val="0079A5"/>
                </a:solidFill>
                <a:latin typeface="+mn-lt"/>
              </a:rPr>
              <a:t>Montreal </a:t>
            </a:r>
            <a:endParaRPr lang="en-US" altLang="en-US" sz="1800" spc="-20" dirty="0">
              <a:solidFill>
                <a:srgbClr val="0079A5"/>
              </a:solidFill>
              <a:latin typeface="+mn-lt"/>
            </a:endParaRPr>
          </a:p>
          <a:p>
            <a:pPr>
              <a:lnSpc>
                <a:spcPts val="2500"/>
              </a:lnSpc>
              <a:defRPr/>
            </a:pPr>
            <a:r>
              <a:rPr lang="en-US" altLang="en-US" sz="1800" spc="-10" dirty="0">
                <a:solidFill>
                  <a:srgbClr val="0079A5"/>
                </a:solidFill>
                <a:latin typeface="+mn-lt"/>
              </a:rPr>
              <a:t>Morristown</a:t>
            </a:r>
          </a:p>
          <a:p>
            <a:pPr>
              <a:lnSpc>
                <a:spcPts val="2500"/>
              </a:lnSpc>
              <a:defRPr/>
            </a:pPr>
            <a:r>
              <a:rPr lang="en-US" altLang="en-US" sz="1800" spc="-10" dirty="0">
                <a:solidFill>
                  <a:srgbClr val="0079A5"/>
                </a:solidFill>
                <a:latin typeface="+mn-lt"/>
              </a:rPr>
              <a:t>Munich</a:t>
            </a:r>
          </a:p>
          <a:p>
            <a:pPr>
              <a:lnSpc>
                <a:spcPts val="2500"/>
              </a:lnSpc>
              <a:defRPr/>
            </a:pPr>
            <a:r>
              <a:rPr lang="en-US" altLang="en-US" sz="1800" spc="-10" dirty="0">
                <a:solidFill>
                  <a:srgbClr val="0079A5"/>
                </a:solidFill>
                <a:latin typeface="+mn-lt"/>
              </a:rPr>
              <a:t>Nashville</a:t>
            </a:r>
          </a:p>
          <a:p>
            <a:pPr>
              <a:lnSpc>
                <a:spcPts val="2500"/>
              </a:lnSpc>
              <a:defRPr/>
            </a:pPr>
            <a:r>
              <a:rPr lang="en-US" altLang="en-US" sz="1800" spc="-10" dirty="0">
                <a:solidFill>
                  <a:srgbClr val="0079A5"/>
                </a:solidFill>
                <a:latin typeface="+mn-lt"/>
              </a:rPr>
              <a:t>New Orleans</a:t>
            </a:r>
          </a:p>
          <a:p>
            <a:pPr>
              <a:lnSpc>
                <a:spcPts val="2500"/>
              </a:lnSpc>
              <a:defRPr/>
            </a:pPr>
            <a:r>
              <a:rPr lang="en-US" altLang="en-US" sz="1800" spc="-10" dirty="0">
                <a:solidFill>
                  <a:srgbClr val="0079A5"/>
                </a:solidFill>
                <a:latin typeface="+mn-lt"/>
              </a:rPr>
              <a:t>New York</a:t>
            </a:r>
          </a:p>
          <a:p>
            <a:pPr>
              <a:lnSpc>
                <a:spcPts val="2500"/>
              </a:lnSpc>
              <a:defRPr/>
            </a:pPr>
            <a:r>
              <a:rPr lang="en-US" altLang="en-US" sz="1800" spc="-10" dirty="0">
                <a:solidFill>
                  <a:srgbClr val="0079A5"/>
                </a:solidFill>
                <a:latin typeface="+mn-lt"/>
              </a:rPr>
              <a:t>Oklahoma City</a:t>
            </a:r>
          </a:p>
          <a:p>
            <a:pPr>
              <a:lnSpc>
                <a:spcPts val="2500"/>
              </a:lnSpc>
              <a:defRPr/>
            </a:pPr>
            <a:r>
              <a:rPr lang="en-US" altLang="en-US" sz="1800" spc="-10" dirty="0">
                <a:solidFill>
                  <a:srgbClr val="0079A5"/>
                </a:solidFill>
                <a:latin typeface="+mn-lt"/>
              </a:rPr>
              <a:t>Orange County</a:t>
            </a:r>
          </a:p>
          <a:p>
            <a:pPr>
              <a:lnSpc>
                <a:spcPts val="2500"/>
              </a:lnSpc>
              <a:defRPr/>
            </a:pPr>
            <a:r>
              <a:rPr lang="en-US" altLang="en-US" sz="1800" spc="-10" dirty="0">
                <a:solidFill>
                  <a:srgbClr val="0079A5"/>
                </a:solidFill>
                <a:latin typeface="+mn-lt"/>
              </a:rPr>
              <a:t>Paris</a:t>
            </a:r>
          </a:p>
          <a:p>
            <a:pPr>
              <a:lnSpc>
                <a:spcPts val="2500"/>
              </a:lnSpc>
              <a:defRPr/>
            </a:pPr>
            <a:r>
              <a:rPr lang="en-US" altLang="en-US" sz="1800" spc="-10" dirty="0">
                <a:solidFill>
                  <a:srgbClr val="0079A5"/>
                </a:solidFill>
                <a:latin typeface="+mn-lt"/>
              </a:rPr>
              <a:t>Philadelphia</a:t>
            </a:r>
          </a:p>
          <a:p>
            <a:pPr>
              <a:lnSpc>
                <a:spcPts val="2500"/>
              </a:lnSpc>
              <a:defRPr/>
            </a:pPr>
            <a:r>
              <a:rPr lang="en-US" altLang="en-US" sz="1800" spc="-10" dirty="0">
                <a:solidFill>
                  <a:srgbClr val="0079A5"/>
                </a:solidFill>
                <a:latin typeface="+mn-lt"/>
              </a:rPr>
              <a:t>Phoenix</a:t>
            </a:r>
          </a:p>
          <a:p>
            <a:pPr>
              <a:lnSpc>
                <a:spcPts val="2500"/>
              </a:lnSpc>
              <a:defRPr/>
            </a:pPr>
            <a:r>
              <a:rPr lang="en-US" altLang="en-US" sz="1800" spc="-20" dirty="0">
                <a:solidFill>
                  <a:srgbClr val="0079A5"/>
                </a:solidFill>
                <a:latin typeface="+mn-lt"/>
              </a:rPr>
              <a:t>Pittsburgh</a:t>
            </a:r>
          </a:p>
          <a:p>
            <a:pPr>
              <a:lnSpc>
                <a:spcPts val="2500"/>
              </a:lnSpc>
              <a:defRPr/>
            </a:pPr>
            <a:r>
              <a:rPr lang="en-US" altLang="en-US" sz="1800" spc="-20" dirty="0">
                <a:solidFill>
                  <a:srgbClr val="0079A5"/>
                </a:solidFill>
                <a:latin typeface="+mn-lt"/>
              </a:rPr>
              <a:t>Portland (ME)</a:t>
            </a:r>
          </a:p>
          <a:p>
            <a:pPr>
              <a:lnSpc>
                <a:spcPts val="2500"/>
              </a:lnSpc>
              <a:defRPr/>
            </a:pPr>
            <a:r>
              <a:rPr lang="en-US" altLang="en-US" sz="1800" spc="-20" dirty="0">
                <a:solidFill>
                  <a:srgbClr val="0079A5"/>
                </a:solidFill>
                <a:latin typeface="+mn-lt"/>
              </a:rPr>
              <a:t>Portland (OR)</a:t>
            </a:r>
          </a:p>
          <a:p>
            <a:pPr>
              <a:lnSpc>
                <a:spcPct val="100000"/>
              </a:lnSpc>
              <a:defRPr/>
            </a:pPr>
            <a:r>
              <a:rPr lang="en-US" altLang="en-US" sz="2000" spc="-20" dirty="0">
                <a:solidFill>
                  <a:srgbClr val="0079A5"/>
                </a:solidFill>
                <a:latin typeface="+mn-lt"/>
              </a:rPr>
              <a:t> </a:t>
            </a:r>
          </a:p>
        </p:txBody>
      </p:sp>
      <p:sp>
        <p:nvSpPr>
          <p:cNvPr id="7" name="Rectangle 6">
            <a:extLst>
              <a:ext uri="{FF2B5EF4-FFF2-40B4-BE49-F238E27FC236}">
                <a16:creationId xmlns:a16="http://schemas.microsoft.com/office/drawing/2014/main" id="{A40D8274-160E-46F8-DF3B-B5D19DC86CE6}"/>
              </a:ext>
            </a:extLst>
          </p:cNvPr>
          <p:cNvSpPr/>
          <p:nvPr userDrawn="1"/>
        </p:nvSpPr>
        <p:spPr>
          <a:xfrm>
            <a:off x="8888560" y="1392147"/>
            <a:ext cx="2777349" cy="4597672"/>
          </a:xfrm>
          <a:prstGeom prst="rect">
            <a:avLst/>
          </a:prstGeom>
        </p:spPr>
        <p:txBody>
          <a:bodyPr wrap="square" anchor="ctr">
            <a:noAutofit/>
          </a:bodyPr>
          <a:lstStyle/>
          <a:p>
            <a:pPr marL="0" marR="0" lvl="0" indent="0" algn="l" defTabSz="914400" rtl="0" eaLnBrk="1" fontAlgn="auto" latinLnBrk="0" hangingPunct="1">
              <a:lnSpc>
                <a:spcPts val="2500"/>
              </a:lnSpc>
              <a:spcBef>
                <a:spcPts val="0"/>
              </a:spcBef>
              <a:spcAft>
                <a:spcPts val="0"/>
              </a:spcAft>
              <a:buClrTx/>
              <a:buSzTx/>
              <a:buFontTx/>
              <a:buNone/>
              <a:tabLst/>
              <a:defRPr/>
            </a:pPr>
            <a:r>
              <a:rPr lang="en-US" altLang="en-US" sz="1800" spc="-20" dirty="0">
                <a:solidFill>
                  <a:srgbClr val="0079A5"/>
                </a:solidFill>
                <a:latin typeface="+mn-lt"/>
              </a:rPr>
              <a:t>Raleigh</a:t>
            </a:r>
          </a:p>
          <a:p>
            <a:pPr marL="0" marR="0" lvl="0" indent="0" algn="l" defTabSz="914400" rtl="0" eaLnBrk="1" fontAlgn="auto" latinLnBrk="0" hangingPunct="1">
              <a:lnSpc>
                <a:spcPts val="2500"/>
              </a:lnSpc>
              <a:spcBef>
                <a:spcPts val="0"/>
              </a:spcBef>
              <a:spcAft>
                <a:spcPts val="0"/>
              </a:spcAft>
              <a:buClrTx/>
              <a:buSzTx/>
              <a:buFontTx/>
              <a:buNone/>
              <a:tabLst/>
              <a:defRPr/>
            </a:pPr>
            <a:r>
              <a:rPr lang="en-US" altLang="en-US" sz="1800" spc="-20" dirty="0">
                <a:solidFill>
                  <a:srgbClr val="0079A5"/>
                </a:solidFill>
                <a:latin typeface="+mn-lt"/>
              </a:rPr>
              <a:t>Richmond</a:t>
            </a:r>
          </a:p>
          <a:p>
            <a:pPr>
              <a:lnSpc>
                <a:spcPts val="2500"/>
              </a:lnSpc>
              <a:defRPr/>
            </a:pPr>
            <a:r>
              <a:rPr lang="en-US" altLang="en-US" sz="1800" spc="-20" dirty="0">
                <a:solidFill>
                  <a:srgbClr val="0079A5"/>
                </a:solidFill>
                <a:latin typeface="+mn-lt"/>
              </a:rPr>
              <a:t>Sacramento</a:t>
            </a:r>
          </a:p>
          <a:p>
            <a:pPr>
              <a:lnSpc>
                <a:spcPts val="2500"/>
              </a:lnSpc>
              <a:defRPr/>
            </a:pPr>
            <a:r>
              <a:rPr lang="en-US" altLang="en-US" sz="1800" spc="-20" dirty="0">
                <a:solidFill>
                  <a:srgbClr val="0079A5"/>
                </a:solidFill>
                <a:latin typeface="+mn-lt"/>
              </a:rPr>
              <a:t>Salt Lake</a:t>
            </a:r>
            <a:r>
              <a:rPr lang="en-US" altLang="en-US" sz="1800" spc="-20" baseline="0" dirty="0">
                <a:solidFill>
                  <a:srgbClr val="0079A5"/>
                </a:solidFill>
                <a:latin typeface="+mn-lt"/>
              </a:rPr>
              <a:t> City</a:t>
            </a:r>
            <a:endParaRPr lang="en-US" altLang="en-US" sz="1800" spc="-20" dirty="0">
              <a:solidFill>
                <a:srgbClr val="0079A5"/>
              </a:solidFill>
              <a:latin typeface="+mn-lt"/>
            </a:endParaRPr>
          </a:p>
          <a:p>
            <a:pPr>
              <a:lnSpc>
                <a:spcPts val="2500"/>
              </a:lnSpc>
              <a:defRPr/>
            </a:pPr>
            <a:r>
              <a:rPr lang="en-US" altLang="en-US" sz="1800" spc="-20" dirty="0">
                <a:solidFill>
                  <a:srgbClr val="0079A5"/>
                </a:solidFill>
                <a:latin typeface="+mn-lt"/>
              </a:rPr>
              <a:t>San Antonio</a:t>
            </a:r>
          </a:p>
          <a:p>
            <a:pPr>
              <a:lnSpc>
                <a:spcPts val="2500"/>
              </a:lnSpc>
              <a:defRPr/>
            </a:pPr>
            <a:r>
              <a:rPr lang="en-US" altLang="en-US" sz="1800" spc="-20" dirty="0">
                <a:solidFill>
                  <a:srgbClr val="0079A5"/>
                </a:solidFill>
                <a:latin typeface="+mn-lt"/>
              </a:rPr>
              <a:t>San Diego</a:t>
            </a:r>
          </a:p>
          <a:p>
            <a:pPr>
              <a:lnSpc>
                <a:spcPts val="2500"/>
              </a:lnSpc>
              <a:defRPr/>
            </a:pPr>
            <a:r>
              <a:rPr lang="en-US" altLang="en-US" sz="1800" spc="-20" dirty="0">
                <a:solidFill>
                  <a:srgbClr val="0079A5"/>
                </a:solidFill>
                <a:latin typeface="+mn-lt"/>
              </a:rPr>
              <a:t>San Francisco</a:t>
            </a:r>
          </a:p>
          <a:p>
            <a:pPr>
              <a:lnSpc>
                <a:spcPts val="2500"/>
              </a:lnSpc>
              <a:defRPr/>
            </a:pPr>
            <a:r>
              <a:rPr lang="en-US" altLang="en-US" sz="1800" spc="-20" dirty="0">
                <a:solidFill>
                  <a:srgbClr val="0079A5"/>
                </a:solidFill>
                <a:latin typeface="+mn-lt"/>
              </a:rPr>
              <a:t>Seattle</a:t>
            </a:r>
          </a:p>
          <a:p>
            <a:pPr>
              <a:lnSpc>
                <a:spcPts val="2500"/>
              </a:lnSpc>
              <a:defRPr/>
            </a:pPr>
            <a:r>
              <a:rPr lang="en-US" altLang="en-US" sz="1800" spc="-20" dirty="0">
                <a:solidFill>
                  <a:srgbClr val="0079A5"/>
                </a:solidFill>
                <a:latin typeface="+mn-lt"/>
              </a:rPr>
              <a:t>St. Louis</a:t>
            </a:r>
          </a:p>
          <a:p>
            <a:pPr>
              <a:lnSpc>
                <a:spcPts val="2500"/>
              </a:lnSpc>
              <a:defRPr/>
            </a:pPr>
            <a:r>
              <a:rPr lang="en-US" altLang="en-US" sz="1800" spc="-20" dirty="0">
                <a:solidFill>
                  <a:srgbClr val="0079A5"/>
                </a:solidFill>
                <a:latin typeface="+mn-lt"/>
              </a:rPr>
              <a:t>St. Thomas</a:t>
            </a:r>
          </a:p>
          <a:p>
            <a:pPr>
              <a:lnSpc>
                <a:spcPts val="2500"/>
              </a:lnSpc>
              <a:defRPr/>
            </a:pPr>
            <a:r>
              <a:rPr lang="en-US" altLang="en-US" sz="1800" spc="-20" dirty="0">
                <a:solidFill>
                  <a:srgbClr val="0079A5"/>
                </a:solidFill>
                <a:latin typeface="+mn-lt"/>
              </a:rPr>
              <a:t>Stamford</a:t>
            </a:r>
          </a:p>
          <a:p>
            <a:pPr>
              <a:lnSpc>
                <a:spcPts val="2500"/>
              </a:lnSpc>
              <a:defRPr/>
            </a:pPr>
            <a:r>
              <a:rPr lang="en-US" altLang="en-US" sz="1800" spc="-20" dirty="0">
                <a:solidFill>
                  <a:srgbClr val="0079A5"/>
                </a:solidFill>
                <a:latin typeface="+mn-lt"/>
              </a:rPr>
              <a:t>Tampa</a:t>
            </a:r>
          </a:p>
          <a:p>
            <a:pPr>
              <a:lnSpc>
                <a:spcPts val="2500"/>
              </a:lnSpc>
              <a:defRPr/>
            </a:pPr>
            <a:r>
              <a:rPr lang="en-US" altLang="en-US" sz="1800" spc="-20" dirty="0">
                <a:solidFill>
                  <a:srgbClr val="0079A5"/>
                </a:solidFill>
                <a:latin typeface="+mn-lt"/>
              </a:rPr>
              <a:t>Toronto</a:t>
            </a:r>
          </a:p>
          <a:p>
            <a:pPr>
              <a:lnSpc>
                <a:spcPts val="2500"/>
              </a:lnSpc>
              <a:defRPr/>
            </a:pPr>
            <a:r>
              <a:rPr lang="en-US" altLang="en-US" sz="1800" spc="-20" dirty="0">
                <a:solidFill>
                  <a:srgbClr val="0079A5"/>
                </a:solidFill>
                <a:latin typeface="+mn-lt"/>
              </a:rPr>
              <a:t>Torrance</a:t>
            </a:r>
          </a:p>
          <a:p>
            <a:pPr>
              <a:lnSpc>
                <a:spcPts val="2500"/>
              </a:lnSpc>
              <a:defRPr/>
            </a:pPr>
            <a:r>
              <a:rPr lang="en-US" altLang="en-US" sz="1800" spc="-20" dirty="0">
                <a:solidFill>
                  <a:srgbClr val="0079A5"/>
                </a:solidFill>
                <a:latin typeface="+mn-lt"/>
              </a:rPr>
              <a:t>Washington, D.C.</a:t>
            </a:r>
          </a:p>
        </p:txBody>
      </p:sp>
    </p:spTree>
    <p:extLst>
      <p:ext uri="{BB962C8B-B14F-4D97-AF65-F5344CB8AC3E}">
        <p14:creationId xmlns:p14="http://schemas.microsoft.com/office/powerpoint/2010/main" val="35589122"/>
      </p:ext>
    </p:extLst>
  </p:cSld>
  <p:clrMapOvr>
    <a:masterClrMapping/>
  </p:clrMapOvr>
  <p:extLst>
    <p:ext uri="{DCECCB84-F9BA-43D5-87BE-67443E8EF086}">
      <p15:sldGuideLst xmlns:p15="http://schemas.microsoft.com/office/powerpoint/2012/main">
        <p15:guide id="1" orient="horz" pos="3600" userDrawn="1">
          <p15:clr>
            <a:srgbClr val="FBAE40"/>
          </p15:clr>
        </p15:guide>
        <p15:guide id="2" pos="384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OD Map">
    <p:bg>
      <p:bgPr>
        <a:solidFill>
          <a:srgbClr val="0079A5"/>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F5485A4-B8B9-2BA3-8E6B-FC9DC2974C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01" y="-4838"/>
            <a:ext cx="12209202" cy="6867676"/>
          </a:xfrm>
          <a:prstGeom prst="rect">
            <a:avLst/>
          </a:prstGeom>
        </p:spPr>
      </p:pic>
      <p:grpSp>
        <p:nvGrpSpPr>
          <p:cNvPr id="494" name="Group 493"/>
          <p:cNvGrpSpPr/>
          <p:nvPr userDrawn="1"/>
        </p:nvGrpSpPr>
        <p:grpSpPr bwMode="grayWhite">
          <a:xfrm>
            <a:off x="8563236" y="-1409810"/>
            <a:ext cx="4429125" cy="4692651"/>
            <a:chOff x="8359775" y="-1335088"/>
            <a:chExt cx="4429125" cy="4692651"/>
          </a:xfrm>
        </p:grpSpPr>
        <p:sp>
          <p:nvSpPr>
            <p:cNvPr id="450" name="AutoShape 3"/>
            <p:cNvSpPr>
              <a:spLocks noChangeAspect="1" noChangeArrowheads="1" noTextEdit="1"/>
            </p:cNvSpPr>
            <p:nvPr userDrawn="1"/>
          </p:nvSpPr>
          <p:spPr bwMode="grayWhite">
            <a:xfrm>
              <a:off x="8359775" y="-1335088"/>
              <a:ext cx="4429125" cy="4692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451" name="Freeform 5"/>
            <p:cNvSpPr>
              <a:spLocks noEditPoints="1"/>
            </p:cNvSpPr>
            <p:nvPr userDrawn="1"/>
          </p:nvSpPr>
          <p:spPr bwMode="grayWhite">
            <a:xfrm>
              <a:off x="9948863" y="-1284288"/>
              <a:ext cx="1012825" cy="1852613"/>
            </a:xfrm>
            <a:custGeom>
              <a:avLst/>
              <a:gdLst>
                <a:gd name="T0" fmla="*/ 39 w 370"/>
                <a:gd name="T1" fmla="*/ 658 h 668"/>
                <a:gd name="T2" fmla="*/ 26 w 370"/>
                <a:gd name="T3" fmla="*/ 633 h 668"/>
                <a:gd name="T4" fmla="*/ 23 w 370"/>
                <a:gd name="T5" fmla="*/ 604 h 668"/>
                <a:gd name="T6" fmla="*/ 14 w 370"/>
                <a:gd name="T7" fmla="*/ 599 h 668"/>
                <a:gd name="T8" fmla="*/ 7 w 370"/>
                <a:gd name="T9" fmla="*/ 562 h 668"/>
                <a:gd name="T10" fmla="*/ 38 w 370"/>
                <a:gd name="T11" fmla="*/ 543 h 668"/>
                <a:gd name="T12" fmla="*/ 11 w 370"/>
                <a:gd name="T13" fmla="*/ 500 h 668"/>
                <a:gd name="T14" fmla="*/ 9 w 370"/>
                <a:gd name="T15" fmla="*/ 488 h 668"/>
                <a:gd name="T16" fmla="*/ 38 w 370"/>
                <a:gd name="T17" fmla="*/ 474 h 668"/>
                <a:gd name="T18" fmla="*/ 38 w 370"/>
                <a:gd name="T19" fmla="*/ 465 h 668"/>
                <a:gd name="T20" fmla="*/ 42 w 370"/>
                <a:gd name="T21" fmla="*/ 447 h 668"/>
                <a:gd name="T22" fmla="*/ 60 w 370"/>
                <a:gd name="T23" fmla="*/ 440 h 668"/>
                <a:gd name="T24" fmla="*/ 77 w 370"/>
                <a:gd name="T25" fmla="*/ 425 h 668"/>
                <a:gd name="T26" fmla="*/ 108 w 370"/>
                <a:gd name="T27" fmla="*/ 397 h 668"/>
                <a:gd name="T28" fmla="*/ 101 w 370"/>
                <a:gd name="T29" fmla="*/ 402 h 668"/>
                <a:gd name="T30" fmla="*/ 110 w 370"/>
                <a:gd name="T31" fmla="*/ 367 h 668"/>
                <a:gd name="T32" fmla="*/ 131 w 370"/>
                <a:gd name="T33" fmla="*/ 329 h 668"/>
                <a:gd name="T34" fmla="*/ 136 w 370"/>
                <a:gd name="T35" fmla="*/ 277 h 668"/>
                <a:gd name="T36" fmla="*/ 159 w 370"/>
                <a:gd name="T37" fmla="*/ 226 h 668"/>
                <a:gd name="T38" fmla="*/ 161 w 370"/>
                <a:gd name="T39" fmla="*/ 190 h 668"/>
                <a:gd name="T40" fmla="*/ 177 w 370"/>
                <a:gd name="T41" fmla="*/ 172 h 668"/>
                <a:gd name="T42" fmla="*/ 164 w 370"/>
                <a:gd name="T43" fmla="*/ 180 h 668"/>
                <a:gd name="T44" fmla="*/ 149 w 370"/>
                <a:gd name="T45" fmla="*/ 158 h 668"/>
                <a:gd name="T46" fmla="*/ 175 w 370"/>
                <a:gd name="T47" fmla="*/ 159 h 668"/>
                <a:gd name="T48" fmla="*/ 168 w 370"/>
                <a:gd name="T49" fmla="*/ 130 h 668"/>
                <a:gd name="T50" fmla="*/ 198 w 370"/>
                <a:gd name="T51" fmla="*/ 104 h 668"/>
                <a:gd name="T52" fmla="*/ 217 w 370"/>
                <a:gd name="T53" fmla="*/ 115 h 668"/>
                <a:gd name="T54" fmla="*/ 229 w 370"/>
                <a:gd name="T55" fmla="*/ 74 h 668"/>
                <a:gd name="T56" fmla="*/ 230 w 370"/>
                <a:gd name="T57" fmla="*/ 50 h 668"/>
                <a:gd name="T58" fmla="*/ 253 w 370"/>
                <a:gd name="T59" fmla="*/ 65 h 668"/>
                <a:gd name="T60" fmla="*/ 276 w 370"/>
                <a:gd name="T61" fmla="*/ 50 h 668"/>
                <a:gd name="T62" fmla="*/ 286 w 370"/>
                <a:gd name="T63" fmla="*/ 17 h 668"/>
                <a:gd name="T64" fmla="*/ 297 w 370"/>
                <a:gd name="T65" fmla="*/ 16 h 668"/>
                <a:gd name="T66" fmla="*/ 315 w 370"/>
                <a:gd name="T67" fmla="*/ 23 h 668"/>
                <a:gd name="T68" fmla="*/ 357 w 370"/>
                <a:gd name="T69" fmla="*/ 11 h 668"/>
                <a:gd name="T70" fmla="*/ 360 w 370"/>
                <a:gd name="T71" fmla="*/ 38 h 668"/>
                <a:gd name="T72" fmla="*/ 360 w 370"/>
                <a:gd name="T73" fmla="*/ 62 h 668"/>
                <a:gd name="T74" fmla="*/ 320 w 370"/>
                <a:gd name="T75" fmla="*/ 41 h 668"/>
                <a:gd name="T76" fmla="*/ 303 w 370"/>
                <a:gd name="T77" fmla="*/ 109 h 668"/>
                <a:gd name="T78" fmla="*/ 252 w 370"/>
                <a:gd name="T79" fmla="*/ 120 h 668"/>
                <a:gd name="T80" fmla="*/ 218 w 370"/>
                <a:gd name="T81" fmla="*/ 135 h 668"/>
                <a:gd name="T82" fmla="*/ 185 w 370"/>
                <a:gd name="T83" fmla="*/ 187 h 668"/>
                <a:gd name="T84" fmla="*/ 159 w 370"/>
                <a:gd name="T85" fmla="*/ 304 h 668"/>
                <a:gd name="T86" fmla="*/ 163 w 370"/>
                <a:gd name="T87" fmla="*/ 363 h 668"/>
                <a:gd name="T88" fmla="*/ 134 w 370"/>
                <a:gd name="T89" fmla="*/ 442 h 668"/>
                <a:gd name="T90" fmla="*/ 154 w 370"/>
                <a:gd name="T91" fmla="*/ 496 h 668"/>
                <a:gd name="T92" fmla="*/ 160 w 370"/>
                <a:gd name="T93" fmla="*/ 568 h 668"/>
                <a:gd name="T94" fmla="*/ 135 w 370"/>
                <a:gd name="T95" fmla="*/ 585 h 668"/>
                <a:gd name="T96" fmla="*/ 125 w 370"/>
                <a:gd name="T97" fmla="*/ 596 h 668"/>
                <a:gd name="T98" fmla="*/ 77 w 370"/>
                <a:gd name="T99" fmla="*/ 663 h 668"/>
                <a:gd name="T100" fmla="*/ 272 w 370"/>
                <a:gd name="T101" fmla="*/ 30 h 668"/>
                <a:gd name="T102" fmla="*/ 272 w 370"/>
                <a:gd name="T103" fmla="*/ 30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70" h="668">
                  <a:moveTo>
                    <a:pt x="48" y="665"/>
                  </a:moveTo>
                  <a:cubicBezTo>
                    <a:pt x="46" y="662"/>
                    <a:pt x="43" y="662"/>
                    <a:pt x="41" y="663"/>
                  </a:cubicBezTo>
                  <a:cubicBezTo>
                    <a:pt x="38" y="665"/>
                    <a:pt x="37" y="663"/>
                    <a:pt x="39" y="658"/>
                  </a:cubicBezTo>
                  <a:cubicBezTo>
                    <a:pt x="41" y="654"/>
                    <a:pt x="41" y="652"/>
                    <a:pt x="39" y="653"/>
                  </a:cubicBezTo>
                  <a:cubicBezTo>
                    <a:pt x="34" y="658"/>
                    <a:pt x="22" y="649"/>
                    <a:pt x="22" y="640"/>
                  </a:cubicBezTo>
                  <a:cubicBezTo>
                    <a:pt x="22" y="636"/>
                    <a:pt x="23" y="633"/>
                    <a:pt x="26" y="633"/>
                  </a:cubicBezTo>
                  <a:cubicBezTo>
                    <a:pt x="28" y="633"/>
                    <a:pt x="29" y="631"/>
                    <a:pt x="28" y="629"/>
                  </a:cubicBezTo>
                  <a:cubicBezTo>
                    <a:pt x="26" y="626"/>
                    <a:pt x="26" y="622"/>
                    <a:pt x="28" y="620"/>
                  </a:cubicBezTo>
                  <a:cubicBezTo>
                    <a:pt x="35" y="609"/>
                    <a:pt x="32" y="602"/>
                    <a:pt x="23" y="604"/>
                  </a:cubicBezTo>
                  <a:cubicBezTo>
                    <a:pt x="18" y="605"/>
                    <a:pt x="13" y="607"/>
                    <a:pt x="13" y="610"/>
                  </a:cubicBezTo>
                  <a:cubicBezTo>
                    <a:pt x="13" y="612"/>
                    <a:pt x="12" y="612"/>
                    <a:pt x="10" y="609"/>
                  </a:cubicBezTo>
                  <a:cubicBezTo>
                    <a:pt x="7" y="605"/>
                    <a:pt x="8" y="602"/>
                    <a:pt x="14" y="599"/>
                  </a:cubicBezTo>
                  <a:cubicBezTo>
                    <a:pt x="23" y="594"/>
                    <a:pt x="28" y="569"/>
                    <a:pt x="21" y="568"/>
                  </a:cubicBezTo>
                  <a:cubicBezTo>
                    <a:pt x="19" y="568"/>
                    <a:pt x="15" y="567"/>
                    <a:pt x="13" y="567"/>
                  </a:cubicBezTo>
                  <a:cubicBezTo>
                    <a:pt x="10" y="567"/>
                    <a:pt x="7" y="564"/>
                    <a:pt x="7" y="562"/>
                  </a:cubicBezTo>
                  <a:cubicBezTo>
                    <a:pt x="5" y="556"/>
                    <a:pt x="38" y="550"/>
                    <a:pt x="45" y="554"/>
                  </a:cubicBezTo>
                  <a:cubicBezTo>
                    <a:pt x="48" y="556"/>
                    <a:pt x="50" y="553"/>
                    <a:pt x="50" y="547"/>
                  </a:cubicBezTo>
                  <a:cubicBezTo>
                    <a:pt x="50" y="535"/>
                    <a:pt x="45" y="534"/>
                    <a:pt x="38" y="543"/>
                  </a:cubicBezTo>
                  <a:cubicBezTo>
                    <a:pt x="31" y="550"/>
                    <a:pt x="15" y="550"/>
                    <a:pt x="7" y="543"/>
                  </a:cubicBezTo>
                  <a:cubicBezTo>
                    <a:pt x="4" y="540"/>
                    <a:pt x="2" y="529"/>
                    <a:pt x="2" y="519"/>
                  </a:cubicBezTo>
                  <a:cubicBezTo>
                    <a:pt x="2" y="503"/>
                    <a:pt x="3" y="501"/>
                    <a:pt x="11" y="500"/>
                  </a:cubicBezTo>
                  <a:cubicBezTo>
                    <a:pt x="15" y="500"/>
                    <a:pt x="22" y="499"/>
                    <a:pt x="26" y="497"/>
                  </a:cubicBezTo>
                  <a:cubicBezTo>
                    <a:pt x="30" y="494"/>
                    <a:pt x="27" y="493"/>
                    <a:pt x="16" y="492"/>
                  </a:cubicBezTo>
                  <a:cubicBezTo>
                    <a:pt x="1" y="492"/>
                    <a:pt x="0" y="492"/>
                    <a:pt x="9" y="488"/>
                  </a:cubicBezTo>
                  <a:cubicBezTo>
                    <a:pt x="13" y="485"/>
                    <a:pt x="18" y="482"/>
                    <a:pt x="18" y="480"/>
                  </a:cubicBezTo>
                  <a:cubicBezTo>
                    <a:pt x="18" y="478"/>
                    <a:pt x="22" y="476"/>
                    <a:pt x="27" y="477"/>
                  </a:cubicBezTo>
                  <a:cubicBezTo>
                    <a:pt x="31" y="478"/>
                    <a:pt x="36" y="477"/>
                    <a:pt x="38" y="474"/>
                  </a:cubicBezTo>
                  <a:cubicBezTo>
                    <a:pt x="39" y="472"/>
                    <a:pt x="35" y="470"/>
                    <a:pt x="30" y="469"/>
                  </a:cubicBezTo>
                  <a:cubicBezTo>
                    <a:pt x="23" y="468"/>
                    <a:pt x="22" y="467"/>
                    <a:pt x="26" y="464"/>
                  </a:cubicBezTo>
                  <a:cubicBezTo>
                    <a:pt x="29" y="463"/>
                    <a:pt x="34" y="463"/>
                    <a:pt x="38" y="465"/>
                  </a:cubicBezTo>
                  <a:cubicBezTo>
                    <a:pt x="48" y="470"/>
                    <a:pt x="48" y="459"/>
                    <a:pt x="39" y="453"/>
                  </a:cubicBezTo>
                  <a:cubicBezTo>
                    <a:pt x="35" y="451"/>
                    <a:pt x="34" y="449"/>
                    <a:pt x="37" y="447"/>
                  </a:cubicBezTo>
                  <a:cubicBezTo>
                    <a:pt x="39" y="445"/>
                    <a:pt x="42" y="445"/>
                    <a:pt x="42" y="447"/>
                  </a:cubicBezTo>
                  <a:cubicBezTo>
                    <a:pt x="42" y="448"/>
                    <a:pt x="44" y="447"/>
                    <a:pt x="47" y="445"/>
                  </a:cubicBezTo>
                  <a:cubicBezTo>
                    <a:pt x="51" y="442"/>
                    <a:pt x="55" y="441"/>
                    <a:pt x="58" y="443"/>
                  </a:cubicBezTo>
                  <a:cubicBezTo>
                    <a:pt x="61" y="445"/>
                    <a:pt x="62" y="444"/>
                    <a:pt x="60" y="440"/>
                  </a:cubicBezTo>
                  <a:cubicBezTo>
                    <a:pt x="59" y="436"/>
                    <a:pt x="61" y="430"/>
                    <a:pt x="64" y="426"/>
                  </a:cubicBezTo>
                  <a:cubicBezTo>
                    <a:pt x="69" y="419"/>
                    <a:pt x="70" y="419"/>
                    <a:pt x="73" y="425"/>
                  </a:cubicBezTo>
                  <a:cubicBezTo>
                    <a:pt x="77" y="429"/>
                    <a:pt x="77" y="429"/>
                    <a:pt x="77" y="425"/>
                  </a:cubicBezTo>
                  <a:cubicBezTo>
                    <a:pt x="77" y="421"/>
                    <a:pt x="80" y="420"/>
                    <a:pt x="86" y="422"/>
                  </a:cubicBezTo>
                  <a:cubicBezTo>
                    <a:pt x="96" y="425"/>
                    <a:pt x="110" y="411"/>
                    <a:pt x="107" y="402"/>
                  </a:cubicBezTo>
                  <a:cubicBezTo>
                    <a:pt x="105" y="398"/>
                    <a:pt x="106" y="396"/>
                    <a:pt x="108" y="397"/>
                  </a:cubicBezTo>
                  <a:cubicBezTo>
                    <a:pt x="110" y="399"/>
                    <a:pt x="115" y="395"/>
                    <a:pt x="119" y="389"/>
                  </a:cubicBezTo>
                  <a:cubicBezTo>
                    <a:pt x="127" y="379"/>
                    <a:pt x="127" y="379"/>
                    <a:pt x="119" y="384"/>
                  </a:cubicBezTo>
                  <a:cubicBezTo>
                    <a:pt x="115" y="387"/>
                    <a:pt x="107" y="395"/>
                    <a:pt x="101" y="402"/>
                  </a:cubicBezTo>
                  <a:cubicBezTo>
                    <a:pt x="93" y="411"/>
                    <a:pt x="90" y="412"/>
                    <a:pt x="89" y="408"/>
                  </a:cubicBezTo>
                  <a:cubicBezTo>
                    <a:pt x="86" y="400"/>
                    <a:pt x="97" y="373"/>
                    <a:pt x="104" y="373"/>
                  </a:cubicBezTo>
                  <a:cubicBezTo>
                    <a:pt x="107" y="373"/>
                    <a:pt x="110" y="370"/>
                    <a:pt x="110" y="367"/>
                  </a:cubicBezTo>
                  <a:cubicBezTo>
                    <a:pt x="110" y="363"/>
                    <a:pt x="111" y="358"/>
                    <a:pt x="111" y="356"/>
                  </a:cubicBezTo>
                  <a:cubicBezTo>
                    <a:pt x="111" y="353"/>
                    <a:pt x="117" y="346"/>
                    <a:pt x="124" y="340"/>
                  </a:cubicBezTo>
                  <a:cubicBezTo>
                    <a:pt x="130" y="334"/>
                    <a:pt x="133" y="329"/>
                    <a:pt x="131" y="329"/>
                  </a:cubicBezTo>
                  <a:cubicBezTo>
                    <a:pt x="128" y="329"/>
                    <a:pt x="126" y="324"/>
                    <a:pt x="127" y="316"/>
                  </a:cubicBezTo>
                  <a:cubicBezTo>
                    <a:pt x="130" y="295"/>
                    <a:pt x="131" y="290"/>
                    <a:pt x="137" y="283"/>
                  </a:cubicBezTo>
                  <a:cubicBezTo>
                    <a:pt x="142" y="277"/>
                    <a:pt x="141" y="277"/>
                    <a:pt x="136" y="277"/>
                  </a:cubicBezTo>
                  <a:cubicBezTo>
                    <a:pt x="131" y="277"/>
                    <a:pt x="130" y="274"/>
                    <a:pt x="132" y="266"/>
                  </a:cubicBezTo>
                  <a:cubicBezTo>
                    <a:pt x="136" y="246"/>
                    <a:pt x="143" y="236"/>
                    <a:pt x="155" y="233"/>
                  </a:cubicBezTo>
                  <a:cubicBezTo>
                    <a:pt x="166" y="229"/>
                    <a:pt x="167" y="229"/>
                    <a:pt x="159" y="226"/>
                  </a:cubicBezTo>
                  <a:cubicBezTo>
                    <a:pt x="151" y="224"/>
                    <a:pt x="151" y="223"/>
                    <a:pt x="157" y="211"/>
                  </a:cubicBezTo>
                  <a:cubicBezTo>
                    <a:pt x="161" y="202"/>
                    <a:pt x="162" y="199"/>
                    <a:pt x="158" y="197"/>
                  </a:cubicBezTo>
                  <a:cubicBezTo>
                    <a:pt x="150" y="195"/>
                    <a:pt x="153" y="187"/>
                    <a:pt x="161" y="190"/>
                  </a:cubicBezTo>
                  <a:cubicBezTo>
                    <a:pt x="167" y="191"/>
                    <a:pt x="168" y="190"/>
                    <a:pt x="167" y="186"/>
                  </a:cubicBezTo>
                  <a:cubicBezTo>
                    <a:pt x="166" y="183"/>
                    <a:pt x="168" y="179"/>
                    <a:pt x="174" y="177"/>
                  </a:cubicBezTo>
                  <a:cubicBezTo>
                    <a:pt x="180" y="175"/>
                    <a:pt x="181" y="173"/>
                    <a:pt x="177" y="172"/>
                  </a:cubicBezTo>
                  <a:cubicBezTo>
                    <a:pt x="174" y="171"/>
                    <a:pt x="168" y="171"/>
                    <a:pt x="164" y="173"/>
                  </a:cubicBezTo>
                  <a:cubicBezTo>
                    <a:pt x="159" y="175"/>
                    <a:pt x="158" y="176"/>
                    <a:pt x="161" y="176"/>
                  </a:cubicBezTo>
                  <a:cubicBezTo>
                    <a:pt x="164" y="176"/>
                    <a:pt x="165" y="178"/>
                    <a:pt x="164" y="180"/>
                  </a:cubicBezTo>
                  <a:cubicBezTo>
                    <a:pt x="161" y="185"/>
                    <a:pt x="140" y="183"/>
                    <a:pt x="139" y="178"/>
                  </a:cubicBezTo>
                  <a:cubicBezTo>
                    <a:pt x="139" y="176"/>
                    <a:pt x="138" y="173"/>
                    <a:pt x="137" y="170"/>
                  </a:cubicBezTo>
                  <a:cubicBezTo>
                    <a:pt x="132" y="163"/>
                    <a:pt x="140" y="155"/>
                    <a:pt x="149" y="158"/>
                  </a:cubicBezTo>
                  <a:cubicBezTo>
                    <a:pt x="154" y="159"/>
                    <a:pt x="158" y="158"/>
                    <a:pt x="158" y="155"/>
                  </a:cubicBezTo>
                  <a:cubicBezTo>
                    <a:pt x="158" y="153"/>
                    <a:pt x="160" y="154"/>
                    <a:pt x="163" y="158"/>
                  </a:cubicBezTo>
                  <a:cubicBezTo>
                    <a:pt x="168" y="165"/>
                    <a:pt x="168" y="165"/>
                    <a:pt x="175" y="159"/>
                  </a:cubicBezTo>
                  <a:cubicBezTo>
                    <a:pt x="178" y="155"/>
                    <a:pt x="181" y="151"/>
                    <a:pt x="181" y="149"/>
                  </a:cubicBezTo>
                  <a:cubicBezTo>
                    <a:pt x="181" y="144"/>
                    <a:pt x="176" y="137"/>
                    <a:pt x="172" y="137"/>
                  </a:cubicBezTo>
                  <a:cubicBezTo>
                    <a:pt x="169" y="137"/>
                    <a:pt x="168" y="133"/>
                    <a:pt x="168" y="130"/>
                  </a:cubicBezTo>
                  <a:cubicBezTo>
                    <a:pt x="168" y="124"/>
                    <a:pt x="170" y="123"/>
                    <a:pt x="181" y="124"/>
                  </a:cubicBezTo>
                  <a:cubicBezTo>
                    <a:pt x="188" y="125"/>
                    <a:pt x="193" y="124"/>
                    <a:pt x="192" y="122"/>
                  </a:cubicBezTo>
                  <a:cubicBezTo>
                    <a:pt x="191" y="120"/>
                    <a:pt x="194" y="112"/>
                    <a:pt x="198" y="104"/>
                  </a:cubicBezTo>
                  <a:cubicBezTo>
                    <a:pt x="207" y="91"/>
                    <a:pt x="207" y="91"/>
                    <a:pt x="207" y="91"/>
                  </a:cubicBezTo>
                  <a:cubicBezTo>
                    <a:pt x="212" y="103"/>
                    <a:pt x="212" y="103"/>
                    <a:pt x="212" y="103"/>
                  </a:cubicBezTo>
                  <a:cubicBezTo>
                    <a:pt x="217" y="115"/>
                    <a:pt x="217" y="115"/>
                    <a:pt x="217" y="115"/>
                  </a:cubicBezTo>
                  <a:cubicBezTo>
                    <a:pt x="218" y="101"/>
                    <a:pt x="218" y="101"/>
                    <a:pt x="218" y="101"/>
                  </a:cubicBezTo>
                  <a:cubicBezTo>
                    <a:pt x="219" y="89"/>
                    <a:pt x="221" y="87"/>
                    <a:pt x="229" y="87"/>
                  </a:cubicBezTo>
                  <a:cubicBezTo>
                    <a:pt x="240" y="87"/>
                    <a:pt x="240" y="78"/>
                    <a:pt x="229" y="74"/>
                  </a:cubicBezTo>
                  <a:cubicBezTo>
                    <a:pt x="223" y="72"/>
                    <a:pt x="222" y="71"/>
                    <a:pt x="226" y="68"/>
                  </a:cubicBezTo>
                  <a:cubicBezTo>
                    <a:pt x="228" y="67"/>
                    <a:pt x="230" y="62"/>
                    <a:pt x="228" y="59"/>
                  </a:cubicBezTo>
                  <a:cubicBezTo>
                    <a:pt x="227" y="56"/>
                    <a:pt x="228" y="52"/>
                    <a:pt x="230" y="50"/>
                  </a:cubicBezTo>
                  <a:cubicBezTo>
                    <a:pt x="233" y="48"/>
                    <a:pt x="235" y="56"/>
                    <a:pt x="234" y="65"/>
                  </a:cubicBezTo>
                  <a:cubicBezTo>
                    <a:pt x="234" y="66"/>
                    <a:pt x="238" y="69"/>
                    <a:pt x="243" y="72"/>
                  </a:cubicBezTo>
                  <a:cubicBezTo>
                    <a:pt x="251" y="75"/>
                    <a:pt x="252" y="75"/>
                    <a:pt x="253" y="65"/>
                  </a:cubicBezTo>
                  <a:cubicBezTo>
                    <a:pt x="253" y="46"/>
                    <a:pt x="258" y="28"/>
                    <a:pt x="266" y="20"/>
                  </a:cubicBezTo>
                  <a:cubicBezTo>
                    <a:pt x="273" y="13"/>
                    <a:pt x="273" y="13"/>
                    <a:pt x="276" y="27"/>
                  </a:cubicBezTo>
                  <a:cubicBezTo>
                    <a:pt x="277" y="34"/>
                    <a:pt x="277" y="45"/>
                    <a:pt x="276" y="50"/>
                  </a:cubicBezTo>
                  <a:cubicBezTo>
                    <a:pt x="274" y="56"/>
                    <a:pt x="275" y="61"/>
                    <a:pt x="277" y="61"/>
                  </a:cubicBezTo>
                  <a:cubicBezTo>
                    <a:pt x="280" y="61"/>
                    <a:pt x="282" y="52"/>
                    <a:pt x="282" y="42"/>
                  </a:cubicBezTo>
                  <a:cubicBezTo>
                    <a:pt x="282" y="31"/>
                    <a:pt x="283" y="20"/>
                    <a:pt x="286" y="17"/>
                  </a:cubicBezTo>
                  <a:cubicBezTo>
                    <a:pt x="289" y="11"/>
                    <a:pt x="289" y="11"/>
                    <a:pt x="289" y="17"/>
                  </a:cubicBezTo>
                  <a:cubicBezTo>
                    <a:pt x="289" y="21"/>
                    <a:pt x="291" y="25"/>
                    <a:pt x="294" y="27"/>
                  </a:cubicBezTo>
                  <a:cubicBezTo>
                    <a:pt x="297" y="28"/>
                    <a:pt x="298" y="25"/>
                    <a:pt x="297" y="16"/>
                  </a:cubicBezTo>
                  <a:cubicBezTo>
                    <a:pt x="296" y="6"/>
                    <a:pt x="297" y="2"/>
                    <a:pt x="303" y="1"/>
                  </a:cubicBezTo>
                  <a:cubicBezTo>
                    <a:pt x="308" y="0"/>
                    <a:pt x="310" y="3"/>
                    <a:pt x="310" y="13"/>
                  </a:cubicBezTo>
                  <a:cubicBezTo>
                    <a:pt x="310" y="21"/>
                    <a:pt x="311" y="25"/>
                    <a:pt x="315" y="23"/>
                  </a:cubicBezTo>
                  <a:cubicBezTo>
                    <a:pt x="317" y="23"/>
                    <a:pt x="320" y="17"/>
                    <a:pt x="320" y="12"/>
                  </a:cubicBezTo>
                  <a:cubicBezTo>
                    <a:pt x="320" y="5"/>
                    <a:pt x="322" y="2"/>
                    <a:pt x="330" y="2"/>
                  </a:cubicBezTo>
                  <a:cubicBezTo>
                    <a:pt x="338" y="2"/>
                    <a:pt x="351" y="6"/>
                    <a:pt x="357" y="11"/>
                  </a:cubicBezTo>
                  <a:cubicBezTo>
                    <a:pt x="360" y="13"/>
                    <a:pt x="349" y="29"/>
                    <a:pt x="343" y="29"/>
                  </a:cubicBezTo>
                  <a:cubicBezTo>
                    <a:pt x="340" y="29"/>
                    <a:pt x="338" y="30"/>
                    <a:pt x="338" y="32"/>
                  </a:cubicBezTo>
                  <a:cubicBezTo>
                    <a:pt x="338" y="38"/>
                    <a:pt x="349" y="41"/>
                    <a:pt x="360" y="38"/>
                  </a:cubicBezTo>
                  <a:cubicBezTo>
                    <a:pt x="366" y="37"/>
                    <a:pt x="370" y="37"/>
                    <a:pt x="370" y="40"/>
                  </a:cubicBezTo>
                  <a:cubicBezTo>
                    <a:pt x="370" y="43"/>
                    <a:pt x="368" y="45"/>
                    <a:pt x="366" y="45"/>
                  </a:cubicBezTo>
                  <a:cubicBezTo>
                    <a:pt x="364" y="45"/>
                    <a:pt x="361" y="52"/>
                    <a:pt x="360" y="62"/>
                  </a:cubicBezTo>
                  <a:cubicBezTo>
                    <a:pt x="357" y="79"/>
                    <a:pt x="357" y="79"/>
                    <a:pt x="357" y="79"/>
                  </a:cubicBezTo>
                  <a:cubicBezTo>
                    <a:pt x="351" y="66"/>
                    <a:pt x="351" y="66"/>
                    <a:pt x="351" y="66"/>
                  </a:cubicBezTo>
                  <a:cubicBezTo>
                    <a:pt x="346" y="54"/>
                    <a:pt x="330" y="41"/>
                    <a:pt x="320" y="41"/>
                  </a:cubicBezTo>
                  <a:cubicBezTo>
                    <a:pt x="317" y="41"/>
                    <a:pt x="311" y="46"/>
                    <a:pt x="306" y="53"/>
                  </a:cubicBezTo>
                  <a:cubicBezTo>
                    <a:pt x="298" y="64"/>
                    <a:pt x="297" y="67"/>
                    <a:pt x="301" y="82"/>
                  </a:cubicBezTo>
                  <a:cubicBezTo>
                    <a:pt x="303" y="91"/>
                    <a:pt x="304" y="103"/>
                    <a:pt x="303" y="109"/>
                  </a:cubicBezTo>
                  <a:cubicBezTo>
                    <a:pt x="301" y="119"/>
                    <a:pt x="299" y="120"/>
                    <a:pt x="291" y="118"/>
                  </a:cubicBezTo>
                  <a:cubicBezTo>
                    <a:pt x="285" y="116"/>
                    <a:pt x="281" y="118"/>
                    <a:pt x="278" y="124"/>
                  </a:cubicBezTo>
                  <a:cubicBezTo>
                    <a:pt x="272" y="135"/>
                    <a:pt x="268" y="135"/>
                    <a:pt x="252" y="120"/>
                  </a:cubicBezTo>
                  <a:cubicBezTo>
                    <a:pt x="239" y="109"/>
                    <a:pt x="238" y="109"/>
                    <a:pt x="233" y="116"/>
                  </a:cubicBezTo>
                  <a:cubicBezTo>
                    <a:pt x="230" y="120"/>
                    <a:pt x="224" y="124"/>
                    <a:pt x="220" y="126"/>
                  </a:cubicBezTo>
                  <a:cubicBezTo>
                    <a:pt x="214" y="128"/>
                    <a:pt x="213" y="130"/>
                    <a:pt x="218" y="135"/>
                  </a:cubicBezTo>
                  <a:cubicBezTo>
                    <a:pt x="225" y="144"/>
                    <a:pt x="226" y="161"/>
                    <a:pt x="218" y="159"/>
                  </a:cubicBezTo>
                  <a:cubicBezTo>
                    <a:pt x="209" y="155"/>
                    <a:pt x="189" y="168"/>
                    <a:pt x="191" y="176"/>
                  </a:cubicBezTo>
                  <a:cubicBezTo>
                    <a:pt x="193" y="180"/>
                    <a:pt x="190" y="184"/>
                    <a:pt x="185" y="187"/>
                  </a:cubicBezTo>
                  <a:cubicBezTo>
                    <a:pt x="172" y="192"/>
                    <a:pt x="163" y="212"/>
                    <a:pt x="169" y="221"/>
                  </a:cubicBezTo>
                  <a:cubicBezTo>
                    <a:pt x="175" y="230"/>
                    <a:pt x="170" y="269"/>
                    <a:pt x="162" y="275"/>
                  </a:cubicBezTo>
                  <a:cubicBezTo>
                    <a:pt x="158" y="279"/>
                    <a:pt x="157" y="285"/>
                    <a:pt x="159" y="304"/>
                  </a:cubicBezTo>
                  <a:cubicBezTo>
                    <a:pt x="161" y="318"/>
                    <a:pt x="160" y="332"/>
                    <a:pt x="157" y="339"/>
                  </a:cubicBezTo>
                  <a:cubicBezTo>
                    <a:pt x="155" y="345"/>
                    <a:pt x="155" y="351"/>
                    <a:pt x="157" y="352"/>
                  </a:cubicBezTo>
                  <a:cubicBezTo>
                    <a:pt x="159" y="353"/>
                    <a:pt x="162" y="358"/>
                    <a:pt x="163" y="363"/>
                  </a:cubicBezTo>
                  <a:cubicBezTo>
                    <a:pt x="165" y="371"/>
                    <a:pt x="164" y="373"/>
                    <a:pt x="156" y="375"/>
                  </a:cubicBezTo>
                  <a:cubicBezTo>
                    <a:pt x="141" y="379"/>
                    <a:pt x="128" y="404"/>
                    <a:pt x="132" y="424"/>
                  </a:cubicBezTo>
                  <a:cubicBezTo>
                    <a:pt x="134" y="432"/>
                    <a:pt x="135" y="440"/>
                    <a:pt x="134" y="442"/>
                  </a:cubicBezTo>
                  <a:cubicBezTo>
                    <a:pt x="134" y="443"/>
                    <a:pt x="136" y="450"/>
                    <a:pt x="139" y="456"/>
                  </a:cubicBezTo>
                  <a:cubicBezTo>
                    <a:pt x="143" y="463"/>
                    <a:pt x="146" y="473"/>
                    <a:pt x="146" y="479"/>
                  </a:cubicBezTo>
                  <a:cubicBezTo>
                    <a:pt x="146" y="486"/>
                    <a:pt x="149" y="493"/>
                    <a:pt x="154" y="496"/>
                  </a:cubicBezTo>
                  <a:cubicBezTo>
                    <a:pt x="162" y="501"/>
                    <a:pt x="165" y="521"/>
                    <a:pt x="158" y="521"/>
                  </a:cubicBezTo>
                  <a:cubicBezTo>
                    <a:pt x="156" y="521"/>
                    <a:pt x="157" y="527"/>
                    <a:pt x="160" y="535"/>
                  </a:cubicBezTo>
                  <a:cubicBezTo>
                    <a:pt x="165" y="547"/>
                    <a:pt x="165" y="551"/>
                    <a:pt x="160" y="568"/>
                  </a:cubicBezTo>
                  <a:cubicBezTo>
                    <a:pt x="156" y="581"/>
                    <a:pt x="156" y="589"/>
                    <a:pt x="158" y="594"/>
                  </a:cubicBezTo>
                  <a:cubicBezTo>
                    <a:pt x="163" y="603"/>
                    <a:pt x="159" y="608"/>
                    <a:pt x="148" y="606"/>
                  </a:cubicBezTo>
                  <a:cubicBezTo>
                    <a:pt x="140" y="604"/>
                    <a:pt x="138" y="600"/>
                    <a:pt x="135" y="585"/>
                  </a:cubicBezTo>
                  <a:cubicBezTo>
                    <a:pt x="131" y="567"/>
                    <a:pt x="131" y="567"/>
                    <a:pt x="131" y="567"/>
                  </a:cubicBezTo>
                  <a:cubicBezTo>
                    <a:pt x="126" y="578"/>
                    <a:pt x="126" y="578"/>
                    <a:pt x="126" y="578"/>
                  </a:cubicBezTo>
                  <a:cubicBezTo>
                    <a:pt x="123" y="585"/>
                    <a:pt x="123" y="591"/>
                    <a:pt x="125" y="596"/>
                  </a:cubicBezTo>
                  <a:cubicBezTo>
                    <a:pt x="129" y="603"/>
                    <a:pt x="126" y="607"/>
                    <a:pt x="113" y="621"/>
                  </a:cubicBezTo>
                  <a:cubicBezTo>
                    <a:pt x="104" y="631"/>
                    <a:pt x="93" y="644"/>
                    <a:pt x="89" y="650"/>
                  </a:cubicBezTo>
                  <a:cubicBezTo>
                    <a:pt x="85" y="657"/>
                    <a:pt x="80" y="662"/>
                    <a:pt x="77" y="663"/>
                  </a:cubicBezTo>
                  <a:cubicBezTo>
                    <a:pt x="74" y="663"/>
                    <a:pt x="67" y="665"/>
                    <a:pt x="61" y="666"/>
                  </a:cubicBezTo>
                  <a:cubicBezTo>
                    <a:pt x="55" y="668"/>
                    <a:pt x="49" y="667"/>
                    <a:pt x="48" y="665"/>
                  </a:cubicBezTo>
                  <a:close/>
                  <a:moveTo>
                    <a:pt x="272" y="30"/>
                  </a:moveTo>
                  <a:cubicBezTo>
                    <a:pt x="271" y="26"/>
                    <a:pt x="270" y="29"/>
                    <a:pt x="270" y="37"/>
                  </a:cubicBezTo>
                  <a:cubicBezTo>
                    <a:pt x="270" y="44"/>
                    <a:pt x="271" y="47"/>
                    <a:pt x="272" y="44"/>
                  </a:cubicBezTo>
                  <a:cubicBezTo>
                    <a:pt x="273" y="40"/>
                    <a:pt x="273" y="33"/>
                    <a:pt x="272" y="30"/>
                  </a:cubicBezTo>
                  <a:close/>
                </a:path>
              </a:pathLst>
            </a:custGeom>
            <a:solidFill>
              <a:srgbClr val="C5C5C5"/>
            </a:solidFill>
            <a:ln w="33338" cap="flat">
              <a:solidFill>
                <a:srgbClr val="C5C5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52" name="Freeform 6"/>
            <p:cNvSpPr>
              <a:spLocks/>
            </p:cNvSpPr>
            <p:nvPr userDrawn="1"/>
          </p:nvSpPr>
          <p:spPr bwMode="grayWhite">
            <a:xfrm>
              <a:off x="10918825" y="-1316038"/>
              <a:ext cx="1851025" cy="2193925"/>
            </a:xfrm>
            <a:custGeom>
              <a:avLst/>
              <a:gdLst>
                <a:gd name="T0" fmla="*/ 512 w 676"/>
                <a:gd name="T1" fmla="*/ 769 h 791"/>
                <a:gd name="T2" fmla="*/ 433 w 676"/>
                <a:gd name="T3" fmla="*/ 745 h 791"/>
                <a:gd name="T4" fmla="*/ 396 w 676"/>
                <a:gd name="T5" fmla="*/ 744 h 791"/>
                <a:gd name="T6" fmla="*/ 401 w 676"/>
                <a:gd name="T7" fmla="*/ 721 h 791"/>
                <a:gd name="T8" fmla="*/ 392 w 676"/>
                <a:gd name="T9" fmla="*/ 688 h 791"/>
                <a:gd name="T10" fmla="*/ 327 w 676"/>
                <a:gd name="T11" fmla="*/ 633 h 791"/>
                <a:gd name="T12" fmla="*/ 304 w 676"/>
                <a:gd name="T13" fmla="*/ 631 h 791"/>
                <a:gd name="T14" fmla="*/ 253 w 676"/>
                <a:gd name="T15" fmla="*/ 629 h 791"/>
                <a:gd name="T16" fmla="*/ 214 w 676"/>
                <a:gd name="T17" fmla="*/ 592 h 791"/>
                <a:gd name="T18" fmla="*/ 198 w 676"/>
                <a:gd name="T19" fmla="*/ 559 h 791"/>
                <a:gd name="T20" fmla="*/ 177 w 676"/>
                <a:gd name="T21" fmla="*/ 501 h 791"/>
                <a:gd name="T22" fmla="*/ 177 w 676"/>
                <a:gd name="T23" fmla="*/ 482 h 791"/>
                <a:gd name="T24" fmla="*/ 197 w 676"/>
                <a:gd name="T25" fmla="*/ 466 h 791"/>
                <a:gd name="T26" fmla="*/ 188 w 676"/>
                <a:gd name="T27" fmla="*/ 455 h 791"/>
                <a:gd name="T28" fmla="*/ 156 w 676"/>
                <a:gd name="T29" fmla="*/ 441 h 791"/>
                <a:gd name="T30" fmla="*/ 171 w 676"/>
                <a:gd name="T31" fmla="*/ 332 h 791"/>
                <a:gd name="T32" fmla="*/ 130 w 676"/>
                <a:gd name="T33" fmla="*/ 292 h 791"/>
                <a:gd name="T34" fmla="*/ 100 w 676"/>
                <a:gd name="T35" fmla="*/ 256 h 791"/>
                <a:gd name="T36" fmla="*/ 87 w 676"/>
                <a:gd name="T37" fmla="*/ 232 h 791"/>
                <a:gd name="T38" fmla="*/ 72 w 676"/>
                <a:gd name="T39" fmla="*/ 202 h 791"/>
                <a:gd name="T40" fmla="*/ 35 w 676"/>
                <a:gd name="T41" fmla="*/ 129 h 791"/>
                <a:gd name="T42" fmla="*/ 9 w 676"/>
                <a:gd name="T43" fmla="*/ 112 h 791"/>
                <a:gd name="T44" fmla="*/ 17 w 676"/>
                <a:gd name="T45" fmla="*/ 60 h 791"/>
                <a:gd name="T46" fmla="*/ 26 w 676"/>
                <a:gd name="T47" fmla="*/ 45 h 791"/>
                <a:gd name="T48" fmla="*/ 49 w 676"/>
                <a:gd name="T49" fmla="*/ 46 h 791"/>
                <a:gd name="T50" fmla="*/ 67 w 676"/>
                <a:gd name="T51" fmla="*/ 51 h 791"/>
                <a:gd name="T52" fmla="*/ 208 w 676"/>
                <a:gd name="T53" fmla="*/ 44 h 791"/>
                <a:gd name="T54" fmla="*/ 221 w 676"/>
                <a:gd name="T55" fmla="*/ 123 h 791"/>
                <a:gd name="T56" fmla="*/ 133 w 676"/>
                <a:gd name="T57" fmla="*/ 145 h 791"/>
                <a:gd name="T58" fmla="*/ 94 w 676"/>
                <a:gd name="T59" fmla="*/ 143 h 791"/>
                <a:gd name="T60" fmla="*/ 147 w 676"/>
                <a:gd name="T61" fmla="*/ 170 h 791"/>
                <a:gd name="T62" fmla="*/ 213 w 676"/>
                <a:gd name="T63" fmla="*/ 231 h 791"/>
                <a:gd name="T64" fmla="*/ 218 w 676"/>
                <a:gd name="T65" fmla="*/ 225 h 791"/>
                <a:gd name="T66" fmla="*/ 259 w 676"/>
                <a:gd name="T67" fmla="*/ 224 h 791"/>
                <a:gd name="T68" fmla="*/ 217 w 676"/>
                <a:gd name="T69" fmla="*/ 188 h 791"/>
                <a:gd name="T70" fmla="*/ 239 w 676"/>
                <a:gd name="T71" fmla="*/ 185 h 791"/>
                <a:gd name="T72" fmla="*/ 265 w 676"/>
                <a:gd name="T73" fmla="*/ 180 h 791"/>
                <a:gd name="T74" fmla="*/ 294 w 676"/>
                <a:gd name="T75" fmla="*/ 170 h 791"/>
                <a:gd name="T76" fmla="*/ 322 w 676"/>
                <a:gd name="T77" fmla="*/ 157 h 791"/>
                <a:gd name="T78" fmla="*/ 281 w 676"/>
                <a:gd name="T79" fmla="*/ 154 h 791"/>
                <a:gd name="T80" fmla="*/ 253 w 676"/>
                <a:gd name="T81" fmla="*/ 133 h 791"/>
                <a:gd name="T82" fmla="*/ 265 w 676"/>
                <a:gd name="T83" fmla="*/ 90 h 791"/>
                <a:gd name="T84" fmla="*/ 290 w 676"/>
                <a:gd name="T85" fmla="*/ 73 h 791"/>
                <a:gd name="T86" fmla="*/ 271 w 676"/>
                <a:gd name="T87" fmla="*/ 30 h 791"/>
                <a:gd name="T88" fmla="*/ 284 w 676"/>
                <a:gd name="T89" fmla="*/ 14 h 791"/>
                <a:gd name="T90" fmla="*/ 321 w 676"/>
                <a:gd name="T91" fmla="*/ 10 h 791"/>
                <a:gd name="T92" fmla="*/ 503 w 676"/>
                <a:gd name="T93" fmla="*/ 0 h 791"/>
                <a:gd name="T94" fmla="*/ 676 w 676"/>
                <a:gd name="T95" fmla="*/ 391 h 791"/>
                <a:gd name="T96" fmla="*/ 644 w 676"/>
                <a:gd name="T97" fmla="*/ 783 h 791"/>
                <a:gd name="T98" fmla="*/ 592 w 676"/>
                <a:gd name="T99" fmla="*/ 781 h 791"/>
                <a:gd name="T100" fmla="*/ 534 w 676"/>
                <a:gd name="T101" fmla="*/ 779 h 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76" h="791">
                  <a:moveTo>
                    <a:pt x="534" y="779"/>
                  </a:moveTo>
                  <a:cubicBezTo>
                    <a:pt x="525" y="769"/>
                    <a:pt x="521" y="767"/>
                    <a:pt x="512" y="769"/>
                  </a:cubicBezTo>
                  <a:cubicBezTo>
                    <a:pt x="500" y="771"/>
                    <a:pt x="489" y="764"/>
                    <a:pt x="478" y="747"/>
                  </a:cubicBezTo>
                  <a:cubicBezTo>
                    <a:pt x="468" y="730"/>
                    <a:pt x="459" y="730"/>
                    <a:pt x="433" y="745"/>
                  </a:cubicBezTo>
                  <a:cubicBezTo>
                    <a:pt x="421" y="753"/>
                    <a:pt x="409" y="760"/>
                    <a:pt x="407" y="760"/>
                  </a:cubicBezTo>
                  <a:cubicBezTo>
                    <a:pt x="406" y="760"/>
                    <a:pt x="401" y="752"/>
                    <a:pt x="396" y="744"/>
                  </a:cubicBezTo>
                  <a:cubicBezTo>
                    <a:pt x="387" y="728"/>
                    <a:pt x="387" y="728"/>
                    <a:pt x="387" y="728"/>
                  </a:cubicBezTo>
                  <a:cubicBezTo>
                    <a:pt x="401" y="721"/>
                    <a:pt x="401" y="721"/>
                    <a:pt x="401" y="721"/>
                  </a:cubicBezTo>
                  <a:cubicBezTo>
                    <a:pt x="409" y="717"/>
                    <a:pt x="416" y="711"/>
                    <a:pt x="416" y="707"/>
                  </a:cubicBezTo>
                  <a:cubicBezTo>
                    <a:pt x="416" y="698"/>
                    <a:pt x="403" y="688"/>
                    <a:pt x="392" y="688"/>
                  </a:cubicBezTo>
                  <a:cubicBezTo>
                    <a:pt x="377" y="688"/>
                    <a:pt x="344" y="667"/>
                    <a:pt x="339" y="654"/>
                  </a:cubicBezTo>
                  <a:cubicBezTo>
                    <a:pt x="336" y="648"/>
                    <a:pt x="331" y="639"/>
                    <a:pt x="327" y="633"/>
                  </a:cubicBezTo>
                  <a:cubicBezTo>
                    <a:pt x="319" y="624"/>
                    <a:pt x="319" y="624"/>
                    <a:pt x="319" y="624"/>
                  </a:cubicBezTo>
                  <a:cubicBezTo>
                    <a:pt x="304" y="631"/>
                    <a:pt x="304" y="631"/>
                    <a:pt x="304" y="631"/>
                  </a:cubicBezTo>
                  <a:cubicBezTo>
                    <a:pt x="291" y="638"/>
                    <a:pt x="288" y="638"/>
                    <a:pt x="278" y="633"/>
                  </a:cubicBezTo>
                  <a:cubicBezTo>
                    <a:pt x="271" y="629"/>
                    <a:pt x="262" y="628"/>
                    <a:pt x="253" y="629"/>
                  </a:cubicBezTo>
                  <a:cubicBezTo>
                    <a:pt x="241" y="632"/>
                    <a:pt x="239" y="631"/>
                    <a:pt x="232" y="617"/>
                  </a:cubicBezTo>
                  <a:cubicBezTo>
                    <a:pt x="228" y="608"/>
                    <a:pt x="220" y="597"/>
                    <a:pt x="214" y="592"/>
                  </a:cubicBezTo>
                  <a:cubicBezTo>
                    <a:pt x="208" y="587"/>
                    <a:pt x="205" y="581"/>
                    <a:pt x="206" y="579"/>
                  </a:cubicBezTo>
                  <a:cubicBezTo>
                    <a:pt x="207" y="577"/>
                    <a:pt x="204" y="568"/>
                    <a:pt x="198" y="559"/>
                  </a:cubicBezTo>
                  <a:cubicBezTo>
                    <a:pt x="189" y="546"/>
                    <a:pt x="188" y="542"/>
                    <a:pt x="192" y="533"/>
                  </a:cubicBezTo>
                  <a:cubicBezTo>
                    <a:pt x="197" y="518"/>
                    <a:pt x="193" y="508"/>
                    <a:pt x="177" y="501"/>
                  </a:cubicBezTo>
                  <a:cubicBezTo>
                    <a:pt x="170" y="498"/>
                    <a:pt x="164" y="494"/>
                    <a:pt x="164" y="493"/>
                  </a:cubicBezTo>
                  <a:cubicBezTo>
                    <a:pt x="164" y="489"/>
                    <a:pt x="175" y="480"/>
                    <a:pt x="177" y="482"/>
                  </a:cubicBezTo>
                  <a:cubicBezTo>
                    <a:pt x="179" y="485"/>
                    <a:pt x="181" y="478"/>
                    <a:pt x="180" y="471"/>
                  </a:cubicBezTo>
                  <a:cubicBezTo>
                    <a:pt x="180" y="468"/>
                    <a:pt x="183" y="467"/>
                    <a:pt x="197" y="466"/>
                  </a:cubicBezTo>
                  <a:cubicBezTo>
                    <a:pt x="201" y="466"/>
                    <a:pt x="205" y="463"/>
                    <a:pt x="206" y="461"/>
                  </a:cubicBezTo>
                  <a:cubicBezTo>
                    <a:pt x="208" y="455"/>
                    <a:pt x="196" y="451"/>
                    <a:pt x="188" y="455"/>
                  </a:cubicBezTo>
                  <a:cubicBezTo>
                    <a:pt x="180" y="459"/>
                    <a:pt x="165" y="454"/>
                    <a:pt x="162" y="446"/>
                  </a:cubicBezTo>
                  <a:cubicBezTo>
                    <a:pt x="161" y="442"/>
                    <a:pt x="158" y="440"/>
                    <a:pt x="156" y="441"/>
                  </a:cubicBezTo>
                  <a:cubicBezTo>
                    <a:pt x="149" y="445"/>
                    <a:pt x="151" y="438"/>
                    <a:pt x="164" y="400"/>
                  </a:cubicBezTo>
                  <a:cubicBezTo>
                    <a:pt x="177" y="360"/>
                    <a:pt x="178" y="351"/>
                    <a:pt x="171" y="332"/>
                  </a:cubicBezTo>
                  <a:cubicBezTo>
                    <a:pt x="168" y="323"/>
                    <a:pt x="161" y="316"/>
                    <a:pt x="147" y="309"/>
                  </a:cubicBezTo>
                  <a:cubicBezTo>
                    <a:pt x="132" y="302"/>
                    <a:pt x="129" y="298"/>
                    <a:pt x="130" y="292"/>
                  </a:cubicBezTo>
                  <a:cubicBezTo>
                    <a:pt x="132" y="287"/>
                    <a:pt x="128" y="280"/>
                    <a:pt x="118" y="270"/>
                  </a:cubicBezTo>
                  <a:cubicBezTo>
                    <a:pt x="110" y="262"/>
                    <a:pt x="102" y="256"/>
                    <a:pt x="100" y="256"/>
                  </a:cubicBezTo>
                  <a:cubicBezTo>
                    <a:pt x="97" y="256"/>
                    <a:pt x="94" y="250"/>
                    <a:pt x="93" y="244"/>
                  </a:cubicBezTo>
                  <a:cubicBezTo>
                    <a:pt x="92" y="237"/>
                    <a:pt x="89" y="232"/>
                    <a:pt x="87" y="232"/>
                  </a:cubicBezTo>
                  <a:cubicBezTo>
                    <a:pt x="84" y="232"/>
                    <a:pt x="84" y="229"/>
                    <a:pt x="87" y="226"/>
                  </a:cubicBezTo>
                  <a:cubicBezTo>
                    <a:pt x="90" y="222"/>
                    <a:pt x="87" y="217"/>
                    <a:pt x="72" y="202"/>
                  </a:cubicBezTo>
                  <a:cubicBezTo>
                    <a:pt x="54" y="184"/>
                    <a:pt x="52" y="180"/>
                    <a:pt x="49" y="159"/>
                  </a:cubicBezTo>
                  <a:cubicBezTo>
                    <a:pt x="47" y="138"/>
                    <a:pt x="45" y="135"/>
                    <a:pt x="35" y="129"/>
                  </a:cubicBezTo>
                  <a:cubicBezTo>
                    <a:pt x="29" y="126"/>
                    <a:pt x="21" y="124"/>
                    <a:pt x="18" y="124"/>
                  </a:cubicBezTo>
                  <a:cubicBezTo>
                    <a:pt x="14" y="124"/>
                    <a:pt x="10" y="119"/>
                    <a:pt x="9" y="112"/>
                  </a:cubicBezTo>
                  <a:cubicBezTo>
                    <a:pt x="8" y="105"/>
                    <a:pt x="5" y="100"/>
                    <a:pt x="4" y="100"/>
                  </a:cubicBezTo>
                  <a:cubicBezTo>
                    <a:pt x="0" y="100"/>
                    <a:pt x="12" y="62"/>
                    <a:pt x="17" y="60"/>
                  </a:cubicBezTo>
                  <a:cubicBezTo>
                    <a:pt x="18" y="59"/>
                    <a:pt x="20" y="57"/>
                    <a:pt x="20" y="55"/>
                  </a:cubicBezTo>
                  <a:cubicBezTo>
                    <a:pt x="20" y="53"/>
                    <a:pt x="22" y="48"/>
                    <a:pt x="26" y="45"/>
                  </a:cubicBezTo>
                  <a:cubicBezTo>
                    <a:pt x="31" y="40"/>
                    <a:pt x="33" y="39"/>
                    <a:pt x="35" y="43"/>
                  </a:cubicBezTo>
                  <a:cubicBezTo>
                    <a:pt x="38" y="47"/>
                    <a:pt x="42" y="48"/>
                    <a:pt x="49" y="46"/>
                  </a:cubicBezTo>
                  <a:cubicBezTo>
                    <a:pt x="57" y="44"/>
                    <a:pt x="60" y="45"/>
                    <a:pt x="60" y="50"/>
                  </a:cubicBezTo>
                  <a:cubicBezTo>
                    <a:pt x="60" y="56"/>
                    <a:pt x="60" y="56"/>
                    <a:pt x="67" y="51"/>
                  </a:cubicBezTo>
                  <a:cubicBezTo>
                    <a:pt x="82" y="38"/>
                    <a:pt x="99" y="34"/>
                    <a:pt x="131" y="38"/>
                  </a:cubicBezTo>
                  <a:cubicBezTo>
                    <a:pt x="164" y="41"/>
                    <a:pt x="198" y="44"/>
                    <a:pt x="208" y="44"/>
                  </a:cubicBezTo>
                  <a:cubicBezTo>
                    <a:pt x="211" y="44"/>
                    <a:pt x="220" y="49"/>
                    <a:pt x="227" y="56"/>
                  </a:cubicBezTo>
                  <a:cubicBezTo>
                    <a:pt x="246" y="73"/>
                    <a:pt x="244" y="101"/>
                    <a:pt x="221" y="123"/>
                  </a:cubicBezTo>
                  <a:cubicBezTo>
                    <a:pt x="212" y="131"/>
                    <a:pt x="188" y="137"/>
                    <a:pt x="143" y="141"/>
                  </a:cubicBezTo>
                  <a:cubicBezTo>
                    <a:pt x="140" y="142"/>
                    <a:pt x="135" y="143"/>
                    <a:pt x="133" y="145"/>
                  </a:cubicBezTo>
                  <a:cubicBezTo>
                    <a:pt x="130" y="146"/>
                    <a:pt x="120" y="147"/>
                    <a:pt x="111" y="145"/>
                  </a:cubicBezTo>
                  <a:cubicBezTo>
                    <a:pt x="94" y="143"/>
                    <a:pt x="94" y="143"/>
                    <a:pt x="94" y="143"/>
                  </a:cubicBezTo>
                  <a:cubicBezTo>
                    <a:pt x="110" y="153"/>
                    <a:pt x="110" y="153"/>
                    <a:pt x="110" y="153"/>
                  </a:cubicBezTo>
                  <a:cubicBezTo>
                    <a:pt x="118" y="159"/>
                    <a:pt x="135" y="166"/>
                    <a:pt x="147" y="170"/>
                  </a:cubicBezTo>
                  <a:cubicBezTo>
                    <a:pt x="163" y="174"/>
                    <a:pt x="168" y="177"/>
                    <a:pt x="168" y="184"/>
                  </a:cubicBezTo>
                  <a:cubicBezTo>
                    <a:pt x="168" y="197"/>
                    <a:pt x="200" y="231"/>
                    <a:pt x="213" y="231"/>
                  </a:cubicBezTo>
                  <a:cubicBezTo>
                    <a:pt x="215" y="231"/>
                    <a:pt x="215" y="229"/>
                    <a:pt x="213" y="227"/>
                  </a:cubicBezTo>
                  <a:cubicBezTo>
                    <a:pt x="211" y="224"/>
                    <a:pt x="212" y="223"/>
                    <a:pt x="218" y="225"/>
                  </a:cubicBezTo>
                  <a:cubicBezTo>
                    <a:pt x="222" y="227"/>
                    <a:pt x="232" y="230"/>
                    <a:pt x="240" y="230"/>
                  </a:cubicBezTo>
                  <a:cubicBezTo>
                    <a:pt x="250" y="232"/>
                    <a:pt x="255" y="230"/>
                    <a:pt x="259" y="224"/>
                  </a:cubicBezTo>
                  <a:cubicBezTo>
                    <a:pt x="266" y="212"/>
                    <a:pt x="257" y="198"/>
                    <a:pt x="244" y="201"/>
                  </a:cubicBezTo>
                  <a:cubicBezTo>
                    <a:pt x="229" y="203"/>
                    <a:pt x="218" y="198"/>
                    <a:pt x="217" y="188"/>
                  </a:cubicBezTo>
                  <a:cubicBezTo>
                    <a:pt x="217" y="182"/>
                    <a:pt x="219" y="180"/>
                    <a:pt x="226" y="180"/>
                  </a:cubicBezTo>
                  <a:cubicBezTo>
                    <a:pt x="231" y="180"/>
                    <a:pt x="237" y="182"/>
                    <a:pt x="239" y="185"/>
                  </a:cubicBezTo>
                  <a:cubicBezTo>
                    <a:pt x="244" y="191"/>
                    <a:pt x="245" y="191"/>
                    <a:pt x="250" y="185"/>
                  </a:cubicBezTo>
                  <a:cubicBezTo>
                    <a:pt x="253" y="182"/>
                    <a:pt x="260" y="180"/>
                    <a:pt x="265" y="180"/>
                  </a:cubicBezTo>
                  <a:cubicBezTo>
                    <a:pt x="271" y="180"/>
                    <a:pt x="276" y="177"/>
                    <a:pt x="276" y="175"/>
                  </a:cubicBezTo>
                  <a:cubicBezTo>
                    <a:pt x="277" y="173"/>
                    <a:pt x="285" y="170"/>
                    <a:pt x="294" y="170"/>
                  </a:cubicBezTo>
                  <a:cubicBezTo>
                    <a:pt x="302" y="169"/>
                    <a:pt x="314" y="167"/>
                    <a:pt x="319" y="166"/>
                  </a:cubicBezTo>
                  <a:cubicBezTo>
                    <a:pt x="328" y="163"/>
                    <a:pt x="329" y="162"/>
                    <a:pt x="322" y="157"/>
                  </a:cubicBezTo>
                  <a:cubicBezTo>
                    <a:pt x="317" y="153"/>
                    <a:pt x="312" y="153"/>
                    <a:pt x="307" y="156"/>
                  </a:cubicBezTo>
                  <a:cubicBezTo>
                    <a:pt x="302" y="159"/>
                    <a:pt x="294" y="158"/>
                    <a:pt x="281" y="154"/>
                  </a:cubicBezTo>
                  <a:cubicBezTo>
                    <a:pt x="271" y="150"/>
                    <a:pt x="260" y="148"/>
                    <a:pt x="257" y="148"/>
                  </a:cubicBezTo>
                  <a:cubicBezTo>
                    <a:pt x="252" y="148"/>
                    <a:pt x="251" y="145"/>
                    <a:pt x="253" y="133"/>
                  </a:cubicBezTo>
                  <a:cubicBezTo>
                    <a:pt x="255" y="124"/>
                    <a:pt x="259" y="113"/>
                    <a:pt x="262" y="109"/>
                  </a:cubicBezTo>
                  <a:cubicBezTo>
                    <a:pt x="265" y="103"/>
                    <a:pt x="267" y="95"/>
                    <a:pt x="265" y="90"/>
                  </a:cubicBezTo>
                  <a:cubicBezTo>
                    <a:pt x="263" y="81"/>
                    <a:pt x="265" y="79"/>
                    <a:pt x="274" y="75"/>
                  </a:cubicBezTo>
                  <a:cubicBezTo>
                    <a:pt x="280" y="73"/>
                    <a:pt x="287" y="72"/>
                    <a:pt x="290" y="73"/>
                  </a:cubicBezTo>
                  <a:cubicBezTo>
                    <a:pt x="297" y="76"/>
                    <a:pt x="300" y="64"/>
                    <a:pt x="295" y="49"/>
                  </a:cubicBezTo>
                  <a:cubicBezTo>
                    <a:pt x="291" y="35"/>
                    <a:pt x="278" y="25"/>
                    <a:pt x="271" y="30"/>
                  </a:cubicBezTo>
                  <a:cubicBezTo>
                    <a:pt x="268" y="31"/>
                    <a:pt x="267" y="29"/>
                    <a:pt x="268" y="23"/>
                  </a:cubicBezTo>
                  <a:cubicBezTo>
                    <a:pt x="269" y="15"/>
                    <a:pt x="272" y="14"/>
                    <a:pt x="284" y="14"/>
                  </a:cubicBezTo>
                  <a:cubicBezTo>
                    <a:pt x="291" y="14"/>
                    <a:pt x="301" y="16"/>
                    <a:pt x="304" y="17"/>
                  </a:cubicBezTo>
                  <a:cubicBezTo>
                    <a:pt x="309" y="19"/>
                    <a:pt x="314" y="17"/>
                    <a:pt x="321" y="10"/>
                  </a:cubicBezTo>
                  <a:cubicBezTo>
                    <a:pt x="330" y="0"/>
                    <a:pt x="330" y="0"/>
                    <a:pt x="330" y="0"/>
                  </a:cubicBezTo>
                  <a:cubicBezTo>
                    <a:pt x="503" y="0"/>
                    <a:pt x="503" y="0"/>
                    <a:pt x="503" y="0"/>
                  </a:cubicBezTo>
                  <a:cubicBezTo>
                    <a:pt x="676" y="0"/>
                    <a:pt x="676" y="0"/>
                    <a:pt x="676" y="0"/>
                  </a:cubicBezTo>
                  <a:cubicBezTo>
                    <a:pt x="676" y="391"/>
                    <a:pt x="676" y="391"/>
                    <a:pt x="676" y="391"/>
                  </a:cubicBezTo>
                  <a:cubicBezTo>
                    <a:pt x="676" y="733"/>
                    <a:pt x="675" y="783"/>
                    <a:pt x="670" y="781"/>
                  </a:cubicBezTo>
                  <a:cubicBezTo>
                    <a:pt x="666" y="780"/>
                    <a:pt x="655" y="781"/>
                    <a:pt x="644" y="783"/>
                  </a:cubicBezTo>
                  <a:cubicBezTo>
                    <a:pt x="627" y="787"/>
                    <a:pt x="622" y="786"/>
                    <a:pt x="614" y="781"/>
                  </a:cubicBezTo>
                  <a:cubicBezTo>
                    <a:pt x="605" y="776"/>
                    <a:pt x="603" y="776"/>
                    <a:pt x="592" y="781"/>
                  </a:cubicBezTo>
                  <a:cubicBezTo>
                    <a:pt x="585" y="785"/>
                    <a:pt x="572" y="788"/>
                    <a:pt x="563" y="789"/>
                  </a:cubicBezTo>
                  <a:cubicBezTo>
                    <a:pt x="548" y="791"/>
                    <a:pt x="544" y="790"/>
                    <a:pt x="534" y="779"/>
                  </a:cubicBezTo>
                  <a:close/>
                </a:path>
              </a:pathLst>
            </a:custGeom>
            <a:solidFill>
              <a:srgbClr val="C5C5C5"/>
            </a:solidFill>
            <a:ln w="33338" cap="flat">
              <a:solidFill>
                <a:srgbClr val="C5C5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53" name="Freeform 7"/>
            <p:cNvSpPr>
              <a:spLocks/>
            </p:cNvSpPr>
            <p:nvPr userDrawn="1"/>
          </p:nvSpPr>
          <p:spPr bwMode="grayWhite">
            <a:xfrm>
              <a:off x="10583863" y="-1168400"/>
              <a:ext cx="808038" cy="1292225"/>
            </a:xfrm>
            <a:custGeom>
              <a:avLst/>
              <a:gdLst>
                <a:gd name="T0" fmla="*/ 158 w 295"/>
                <a:gd name="T1" fmla="*/ 458 h 466"/>
                <a:gd name="T2" fmla="*/ 146 w 295"/>
                <a:gd name="T3" fmla="*/ 451 h 466"/>
                <a:gd name="T4" fmla="*/ 122 w 295"/>
                <a:gd name="T5" fmla="*/ 418 h 466"/>
                <a:gd name="T6" fmla="*/ 118 w 295"/>
                <a:gd name="T7" fmla="*/ 401 h 466"/>
                <a:gd name="T8" fmla="*/ 104 w 295"/>
                <a:gd name="T9" fmla="*/ 377 h 466"/>
                <a:gd name="T10" fmla="*/ 93 w 295"/>
                <a:gd name="T11" fmla="*/ 356 h 466"/>
                <a:gd name="T12" fmla="*/ 106 w 295"/>
                <a:gd name="T13" fmla="*/ 328 h 466"/>
                <a:gd name="T14" fmla="*/ 133 w 295"/>
                <a:gd name="T15" fmla="*/ 250 h 466"/>
                <a:gd name="T16" fmla="*/ 140 w 295"/>
                <a:gd name="T17" fmla="*/ 238 h 466"/>
                <a:gd name="T18" fmla="*/ 136 w 295"/>
                <a:gd name="T19" fmla="*/ 224 h 466"/>
                <a:gd name="T20" fmla="*/ 126 w 295"/>
                <a:gd name="T21" fmla="*/ 211 h 466"/>
                <a:gd name="T22" fmla="*/ 123 w 295"/>
                <a:gd name="T23" fmla="*/ 207 h 466"/>
                <a:gd name="T24" fmla="*/ 84 w 295"/>
                <a:gd name="T25" fmla="*/ 167 h 466"/>
                <a:gd name="T26" fmla="*/ 30 w 295"/>
                <a:gd name="T27" fmla="*/ 100 h 466"/>
                <a:gd name="T28" fmla="*/ 3 w 295"/>
                <a:gd name="T29" fmla="*/ 76 h 466"/>
                <a:gd name="T30" fmla="*/ 20 w 295"/>
                <a:gd name="T31" fmla="*/ 82 h 466"/>
                <a:gd name="T32" fmla="*/ 47 w 295"/>
                <a:gd name="T33" fmla="*/ 86 h 466"/>
                <a:gd name="T34" fmla="*/ 63 w 295"/>
                <a:gd name="T35" fmla="*/ 81 h 466"/>
                <a:gd name="T36" fmla="*/ 75 w 295"/>
                <a:gd name="T37" fmla="*/ 70 h 466"/>
                <a:gd name="T38" fmla="*/ 73 w 295"/>
                <a:gd name="T39" fmla="*/ 40 h 466"/>
                <a:gd name="T40" fmla="*/ 76 w 295"/>
                <a:gd name="T41" fmla="*/ 13 h 466"/>
                <a:gd name="T42" fmla="*/ 103 w 295"/>
                <a:gd name="T43" fmla="*/ 9 h 466"/>
                <a:gd name="T44" fmla="*/ 120 w 295"/>
                <a:gd name="T45" fmla="*/ 41 h 466"/>
                <a:gd name="T46" fmla="*/ 139 w 295"/>
                <a:gd name="T47" fmla="*/ 75 h 466"/>
                <a:gd name="T48" fmla="*/ 155 w 295"/>
                <a:gd name="T49" fmla="*/ 79 h 466"/>
                <a:gd name="T50" fmla="*/ 168 w 295"/>
                <a:gd name="T51" fmla="*/ 106 h 466"/>
                <a:gd name="T52" fmla="*/ 190 w 295"/>
                <a:gd name="T53" fmla="*/ 149 h 466"/>
                <a:gd name="T54" fmla="*/ 205 w 295"/>
                <a:gd name="T55" fmla="*/ 171 h 466"/>
                <a:gd name="T56" fmla="*/ 207 w 295"/>
                <a:gd name="T57" fmla="*/ 185 h 466"/>
                <a:gd name="T58" fmla="*/ 213 w 295"/>
                <a:gd name="T59" fmla="*/ 202 h 466"/>
                <a:gd name="T60" fmla="*/ 222 w 295"/>
                <a:gd name="T61" fmla="*/ 207 h 466"/>
                <a:gd name="T62" fmla="*/ 230 w 295"/>
                <a:gd name="T63" fmla="*/ 212 h 466"/>
                <a:gd name="T64" fmla="*/ 240 w 295"/>
                <a:gd name="T65" fmla="*/ 223 h 466"/>
                <a:gd name="T66" fmla="*/ 248 w 295"/>
                <a:gd name="T67" fmla="*/ 239 h 466"/>
                <a:gd name="T68" fmla="*/ 266 w 295"/>
                <a:gd name="T69" fmla="*/ 259 h 466"/>
                <a:gd name="T70" fmla="*/ 290 w 295"/>
                <a:gd name="T71" fmla="*/ 284 h 466"/>
                <a:gd name="T72" fmla="*/ 273 w 295"/>
                <a:gd name="T73" fmla="*/ 375 h 466"/>
                <a:gd name="T74" fmla="*/ 249 w 295"/>
                <a:gd name="T75" fmla="*/ 408 h 466"/>
                <a:gd name="T76" fmla="*/ 234 w 295"/>
                <a:gd name="T77" fmla="*/ 414 h 466"/>
                <a:gd name="T78" fmla="*/ 220 w 295"/>
                <a:gd name="T79" fmla="*/ 432 h 466"/>
                <a:gd name="T80" fmla="*/ 206 w 295"/>
                <a:gd name="T81" fmla="*/ 450 h 466"/>
                <a:gd name="T82" fmla="*/ 173 w 295"/>
                <a:gd name="T83" fmla="*/ 465 h 466"/>
                <a:gd name="T84" fmla="*/ 158 w 295"/>
                <a:gd name="T85" fmla="*/ 458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5" h="466">
                  <a:moveTo>
                    <a:pt x="158" y="458"/>
                  </a:moveTo>
                  <a:cubicBezTo>
                    <a:pt x="158" y="452"/>
                    <a:pt x="155" y="451"/>
                    <a:pt x="146" y="451"/>
                  </a:cubicBezTo>
                  <a:cubicBezTo>
                    <a:pt x="131" y="451"/>
                    <a:pt x="122" y="438"/>
                    <a:pt x="122" y="418"/>
                  </a:cubicBezTo>
                  <a:cubicBezTo>
                    <a:pt x="122" y="410"/>
                    <a:pt x="120" y="402"/>
                    <a:pt x="118" y="401"/>
                  </a:cubicBezTo>
                  <a:cubicBezTo>
                    <a:pt x="116" y="399"/>
                    <a:pt x="109" y="389"/>
                    <a:pt x="104" y="377"/>
                  </a:cubicBezTo>
                  <a:cubicBezTo>
                    <a:pt x="93" y="356"/>
                    <a:pt x="93" y="356"/>
                    <a:pt x="93" y="356"/>
                  </a:cubicBezTo>
                  <a:cubicBezTo>
                    <a:pt x="106" y="328"/>
                    <a:pt x="106" y="328"/>
                    <a:pt x="106" y="328"/>
                  </a:cubicBezTo>
                  <a:cubicBezTo>
                    <a:pt x="120" y="297"/>
                    <a:pt x="133" y="260"/>
                    <a:pt x="133" y="250"/>
                  </a:cubicBezTo>
                  <a:cubicBezTo>
                    <a:pt x="133" y="246"/>
                    <a:pt x="136" y="241"/>
                    <a:pt x="140" y="238"/>
                  </a:cubicBezTo>
                  <a:cubicBezTo>
                    <a:pt x="145" y="234"/>
                    <a:pt x="144" y="232"/>
                    <a:pt x="136" y="224"/>
                  </a:cubicBezTo>
                  <a:cubicBezTo>
                    <a:pt x="130" y="219"/>
                    <a:pt x="126" y="213"/>
                    <a:pt x="126" y="211"/>
                  </a:cubicBezTo>
                  <a:cubicBezTo>
                    <a:pt x="126" y="208"/>
                    <a:pt x="124" y="207"/>
                    <a:pt x="123" y="207"/>
                  </a:cubicBezTo>
                  <a:cubicBezTo>
                    <a:pt x="105" y="210"/>
                    <a:pt x="101" y="205"/>
                    <a:pt x="84" y="167"/>
                  </a:cubicBezTo>
                  <a:cubicBezTo>
                    <a:pt x="63" y="122"/>
                    <a:pt x="56" y="113"/>
                    <a:pt x="30" y="100"/>
                  </a:cubicBezTo>
                  <a:cubicBezTo>
                    <a:pt x="0" y="85"/>
                    <a:pt x="0" y="85"/>
                    <a:pt x="3" y="76"/>
                  </a:cubicBezTo>
                  <a:cubicBezTo>
                    <a:pt x="5" y="71"/>
                    <a:pt x="8" y="72"/>
                    <a:pt x="20" y="82"/>
                  </a:cubicBezTo>
                  <a:cubicBezTo>
                    <a:pt x="36" y="97"/>
                    <a:pt x="39" y="97"/>
                    <a:pt x="47" y="86"/>
                  </a:cubicBezTo>
                  <a:cubicBezTo>
                    <a:pt x="51" y="80"/>
                    <a:pt x="55" y="79"/>
                    <a:pt x="63" y="81"/>
                  </a:cubicBezTo>
                  <a:cubicBezTo>
                    <a:pt x="71" y="83"/>
                    <a:pt x="73" y="82"/>
                    <a:pt x="75" y="70"/>
                  </a:cubicBezTo>
                  <a:cubicBezTo>
                    <a:pt x="76" y="62"/>
                    <a:pt x="75" y="49"/>
                    <a:pt x="73" y="40"/>
                  </a:cubicBezTo>
                  <a:cubicBezTo>
                    <a:pt x="69" y="26"/>
                    <a:pt x="70" y="21"/>
                    <a:pt x="76" y="13"/>
                  </a:cubicBezTo>
                  <a:cubicBezTo>
                    <a:pt x="85" y="1"/>
                    <a:pt x="90" y="0"/>
                    <a:pt x="103" y="9"/>
                  </a:cubicBezTo>
                  <a:cubicBezTo>
                    <a:pt x="111" y="14"/>
                    <a:pt x="118" y="27"/>
                    <a:pt x="120" y="41"/>
                  </a:cubicBezTo>
                  <a:cubicBezTo>
                    <a:pt x="121" y="52"/>
                    <a:pt x="134" y="75"/>
                    <a:pt x="139" y="75"/>
                  </a:cubicBezTo>
                  <a:cubicBezTo>
                    <a:pt x="142" y="75"/>
                    <a:pt x="150" y="77"/>
                    <a:pt x="155" y="79"/>
                  </a:cubicBezTo>
                  <a:cubicBezTo>
                    <a:pt x="163" y="83"/>
                    <a:pt x="165" y="87"/>
                    <a:pt x="168" y="106"/>
                  </a:cubicBezTo>
                  <a:cubicBezTo>
                    <a:pt x="170" y="127"/>
                    <a:pt x="172" y="131"/>
                    <a:pt x="190" y="149"/>
                  </a:cubicBezTo>
                  <a:cubicBezTo>
                    <a:pt x="201" y="159"/>
                    <a:pt x="208" y="169"/>
                    <a:pt x="205" y="171"/>
                  </a:cubicBezTo>
                  <a:cubicBezTo>
                    <a:pt x="203" y="172"/>
                    <a:pt x="203" y="177"/>
                    <a:pt x="207" y="185"/>
                  </a:cubicBezTo>
                  <a:cubicBezTo>
                    <a:pt x="211" y="191"/>
                    <a:pt x="213" y="199"/>
                    <a:pt x="213" y="202"/>
                  </a:cubicBezTo>
                  <a:cubicBezTo>
                    <a:pt x="214" y="204"/>
                    <a:pt x="217" y="207"/>
                    <a:pt x="222" y="207"/>
                  </a:cubicBezTo>
                  <a:cubicBezTo>
                    <a:pt x="226" y="207"/>
                    <a:pt x="230" y="209"/>
                    <a:pt x="230" y="212"/>
                  </a:cubicBezTo>
                  <a:cubicBezTo>
                    <a:pt x="230" y="215"/>
                    <a:pt x="234" y="220"/>
                    <a:pt x="240" y="223"/>
                  </a:cubicBezTo>
                  <a:cubicBezTo>
                    <a:pt x="248" y="227"/>
                    <a:pt x="250" y="230"/>
                    <a:pt x="248" y="239"/>
                  </a:cubicBezTo>
                  <a:cubicBezTo>
                    <a:pt x="246" y="248"/>
                    <a:pt x="248" y="250"/>
                    <a:pt x="266" y="259"/>
                  </a:cubicBezTo>
                  <a:cubicBezTo>
                    <a:pt x="282" y="266"/>
                    <a:pt x="286" y="270"/>
                    <a:pt x="290" y="284"/>
                  </a:cubicBezTo>
                  <a:cubicBezTo>
                    <a:pt x="295" y="300"/>
                    <a:pt x="295" y="300"/>
                    <a:pt x="273" y="375"/>
                  </a:cubicBezTo>
                  <a:cubicBezTo>
                    <a:pt x="264" y="405"/>
                    <a:pt x="264" y="406"/>
                    <a:pt x="249" y="408"/>
                  </a:cubicBezTo>
                  <a:cubicBezTo>
                    <a:pt x="240" y="410"/>
                    <a:pt x="234" y="412"/>
                    <a:pt x="234" y="414"/>
                  </a:cubicBezTo>
                  <a:cubicBezTo>
                    <a:pt x="234" y="416"/>
                    <a:pt x="227" y="424"/>
                    <a:pt x="220" y="432"/>
                  </a:cubicBezTo>
                  <a:cubicBezTo>
                    <a:pt x="212" y="440"/>
                    <a:pt x="206" y="448"/>
                    <a:pt x="206" y="450"/>
                  </a:cubicBezTo>
                  <a:cubicBezTo>
                    <a:pt x="206" y="455"/>
                    <a:pt x="188" y="463"/>
                    <a:pt x="173" y="465"/>
                  </a:cubicBezTo>
                  <a:cubicBezTo>
                    <a:pt x="160" y="466"/>
                    <a:pt x="158" y="465"/>
                    <a:pt x="158" y="458"/>
                  </a:cubicBezTo>
                  <a:close/>
                </a:path>
              </a:pathLst>
            </a:custGeom>
            <a:solidFill>
              <a:srgbClr val="C5C5C5"/>
            </a:solidFill>
            <a:ln w="33338" cap="flat">
              <a:solidFill>
                <a:srgbClr val="C5C5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54" name="Freeform 8"/>
            <p:cNvSpPr>
              <a:spLocks noEditPoints="1"/>
            </p:cNvSpPr>
            <p:nvPr userDrawn="1"/>
          </p:nvSpPr>
          <p:spPr bwMode="grayWhite">
            <a:xfrm>
              <a:off x="10315575" y="-941388"/>
              <a:ext cx="573088" cy="1800225"/>
            </a:xfrm>
            <a:custGeom>
              <a:avLst/>
              <a:gdLst>
                <a:gd name="T0" fmla="*/ 81 w 209"/>
                <a:gd name="T1" fmla="*/ 625 h 649"/>
                <a:gd name="T2" fmla="*/ 80 w 209"/>
                <a:gd name="T3" fmla="*/ 609 h 649"/>
                <a:gd name="T4" fmla="*/ 40 w 209"/>
                <a:gd name="T5" fmla="*/ 536 h 649"/>
                <a:gd name="T6" fmla="*/ 23 w 209"/>
                <a:gd name="T7" fmla="*/ 518 h 649"/>
                <a:gd name="T8" fmla="*/ 23 w 209"/>
                <a:gd name="T9" fmla="*/ 489 h 649"/>
                <a:gd name="T10" fmla="*/ 30 w 209"/>
                <a:gd name="T11" fmla="*/ 444 h 649"/>
                <a:gd name="T12" fmla="*/ 30 w 209"/>
                <a:gd name="T13" fmla="*/ 391 h 649"/>
                <a:gd name="T14" fmla="*/ 16 w 209"/>
                <a:gd name="T15" fmla="*/ 353 h 649"/>
                <a:gd name="T16" fmla="*/ 5 w 209"/>
                <a:gd name="T17" fmla="*/ 318 h 649"/>
                <a:gd name="T18" fmla="*/ 6 w 209"/>
                <a:gd name="T19" fmla="*/ 272 h 649"/>
                <a:gd name="T20" fmla="*/ 29 w 209"/>
                <a:gd name="T21" fmla="*/ 251 h 649"/>
                <a:gd name="T22" fmla="*/ 28 w 209"/>
                <a:gd name="T23" fmla="*/ 212 h 649"/>
                <a:gd name="T24" fmla="*/ 32 w 209"/>
                <a:gd name="T25" fmla="*/ 153 h 649"/>
                <a:gd name="T26" fmla="*/ 55 w 209"/>
                <a:gd name="T27" fmla="*/ 65 h 649"/>
                <a:gd name="T28" fmla="*/ 85 w 209"/>
                <a:gd name="T29" fmla="*/ 39 h 649"/>
                <a:gd name="T30" fmla="*/ 122 w 209"/>
                <a:gd name="T31" fmla="*/ 19 h 649"/>
                <a:gd name="T32" fmla="*/ 173 w 209"/>
                <a:gd name="T33" fmla="*/ 77 h 649"/>
                <a:gd name="T34" fmla="*/ 188 w 209"/>
                <a:gd name="T35" fmla="*/ 130 h 649"/>
                <a:gd name="T36" fmla="*/ 167 w 209"/>
                <a:gd name="T37" fmla="*/ 136 h 649"/>
                <a:gd name="T38" fmla="*/ 170 w 209"/>
                <a:gd name="T39" fmla="*/ 197 h 649"/>
                <a:gd name="T40" fmla="*/ 133 w 209"/>
                <a:gd name="T41" fmla="*/ 282 h 649"/>
                <a:gd name="T42" fmla="*/ 133 w 209"/>
                <a:gd name="T43" fmla="*/ 370 h 649"/>
                <a:gd name="T44" fmla="*/ 184 w 209"/>
                <a:gd name="T45" fmla="*/ 413 h 649"/>
                <a:gd name="T46" fmla="*/ 174 w 209"/>
                <a:gd name="T47" fmla="*/ 448 h 649"/>
                <a:gd name="T48" fmla="*/ 155 w 209"/>
                <a:gd name="T49" fmla="*/ 498 h 649"/>
                <a:gd name="T50" fmla="*/ 156 w 209"/>
                <a:gd name="T51" fmla="*/ 549 h 649"/>
                <a:gd name="T52" fmla="*/ 119 w 209"/>
                <a:gd name="T53" fmla="*/ 626 h 649"/>
                <a:gd name="T54" fmla="*/ 87 w 209"/>
                <a:gd name="T55" fmla="*/ 642 h 649"/>
                <a:gd name="T56" fmla="*/ 196 w 209"/>
                <a:gd name="T57" fmla="*/ 522 h 649"/>
                <a:gd name="T58" fmla="*/ 202 w 209"/>
                <a:gd name="T59" fmla="*/ 511 h 649"/>
                <a:gd name="T60" fmla="*/ 206 w 209"/>
                <a:gd name="T61" fmla="*/ 536 h 649"/>
                <a:gd name="T62" fmla="*/ 196 w 209"/>
                <a:gd name="T63" fmla="*/ 535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9" h="649">
                  <a:moveTo>
                    <a:pt x="87" y="642"/>
                  </a:moveTo>
                  <a:cubicBezTo>
                    <a:pt x="90" y="635"/>
                    <a:pt x="89" y="632"/>
                    <a:pt x="81" y="625"/>
                  </a:cubicBezTo>
                  <a:cubicBezTo>
                    <a:pt x="75" y="619"/>
                    <a:pt x="72" y="615"/>
                    <a:pt x="75" y="613"/>
                  </a:cubicBezTo>
                  <a:cubicBezTo>
                    <a:pt x="77" y="612"/>
                    <a:pt x="79" y="610"/>
                    <a:pt x="80" y="609"/>
                  </a:cubicBezTo>
                  <a:cubicBezTo>
                    <a:pt x="82" y="606"/>
                    <a:pt x="66" y="581"/>
                    <a:pt x="63" y="581"/>
                  </a:cubicBezTo>
                  <a:cubicBezTo>
                    <a:pt x="58" y="581"/>
                    <a:pt x="39" y="544"/>
                    <a:pt x="40" y="536"/>
                  </a:cubicBezTo>
                  <a:cubicBezTo>
                    <a:pt x="42" y="516"/>
                    <a:pt x="40" y="512"/>
                    <a:pt x="32" y="517"/>
                  </a:cubicBezTo>
                  <a:cubicBezTo>
                    <a:pt x="27" y="519"/>
                    <a:pt x="23" y="519"/>
                    <a:pt x="23" y="518"/>
                  </a:cubicBezTo>
                  <a:cubicBezTo>
                    <a:pt x="23" y="516"/>
                    <a:pt x="22" y="509"/>
                    <a:pt x="21" y="502"/>
                  </a:cubicBezTo>
                  <a:cubicBezTo>
                    <a:pt x="20" y="494"/>
                    <a:pt x="21" y="489"/>
                    <a:pt x="23" y="489"/>
                  </a:cubicBezTo>
                  <a:cubicBezTo>
                    <a:pt x="29" y="489"/>
                    <a:pt x="32" y="476"/>
                    <a:pt x="28" y="469"/>
                  </a:cubicBezTo>
                  <a:cubicBezTo>
                    <a:pt x="26" y="465"/>
                    <a:pt x="26" y="456"/>
                    <a:pt x="30" y="444"/>
                  </a:cubicBezTo>
                  <a:cubicBezTo>
                    <a:pt x="34" y="431"/>
                    <a:pt x="34" y="422"/>
                    <a:pt x="32" y="415"/>
                  </a:cubicBezTo>
                  <a:cubicBezTo>
                    <a:pt x="30" y="410"/>
                    <a:pt x="29" y="399"/>
                    <a:pt x="30" y="391"/>
                  </a:cubicBezTo>
                  <a:cubicBezTo>
                    <a:pt x="32" y="380"/>
                    <a:pt x="31" y="376"/>
                    <a:pt x="24" y="370"/>
                  </a:cubicBezTo>
                  <a:cubicBezTo>
                    <a:pt x="19" y="366"/>
                    <a:pt x="16" y="359"/>
                    <a:pt x="16" y="353"/>
                  </a:cubicBezTo>
                  <a:cubicBezTo>
                    <a:pt x="16" y="348"/>
                    <a:pt x="13" y="339"/>
                    <a:pt x="9" y="332"/>
                  </a:cubicBezTo>
                  <a:cubicBezTo>
                    <a:pt x="6" y="325"/>
                    <a:pt x="4" y="319"/>
                    <a:pt x="5" y="318"/>
                  </a:cubicBezTo>
                  <a:cubicBezTo>
                    <a:pt x="6" y="317"/>
                    <a:pt x="5" y="310"/>
                    <a:pt x="3" y="302"/>
                  </a:cubicBezTo>
                  <a:cubicBezTo>
                    <a:pt x="0" y="290"/>
                    <a:pt x="0" y="284"/>
                    <a:pt x="6" y="272"/>
                  </a:cubicBezTo>
                  <a:cubicBezTo>
                    <a:pt x="10" y="263"/>
                    <a:pt x="15" y="257"/>
                    <a:pt x="17" y="257"/>
                  </a:cubicBezTo>
                  <a:cubicBezTo>
                    <a:pt x="20" y="257"/>
                    <a:pt x="25" y="254"/>
                    <a:pt x="29" y="251"/>
                  </a:cubicBezTo>
                  <a:cubicBezTo>
                    <a:pt x="36" y="246"/>
                    <a:pt x="36" y="245"/>
                    <a:pt x="31" y="234"/>
                  </a:cubicBezTo>
                  <a:cubicBezTo>
                    <a:pt x="27" y="226"/>
                    <a:pt x="26" y="219"/>
                    <a:pt x="28" y="212"/>
                  </a:cubicBezTo>
                  <a:cubicBezTo>
                    <a:pt x="30" y="207"/>
                    <a:pt x="31" y="193"/>
                    <a:pt x="29" y="182"/>
                  </a:cubicBezTo>
                  <a:cubicBezTo>
                    <a:pt x="27" y="165"/>
                    <a:pt x="28" y="159"/>
                    <a:pt x="32" y="153"/>
                  </a:cubicBezTo>
                  <a:cubicBezTo>
                    <a:pt x="40" y="144"/>
                    <a:pt x="45" y="106"/>
                    <a:pt x="39" y="97"/>
                  </a:cubicBezTo>
                  <a:cubicBezTo>
                    <a:pt x="33" y="87"/>
                    <a:pt x="43" y="67"/>
                    <a:pt x="55" y="65"/>
                  </a:cubicBezTo>
                  <a:cubicBezTo>
                    <a:pt x="62" y="64"/>
                    <a:pt x="64" y="62"/>
                    <a:pt x="62" y="54"/>
                  </a:cubicBezTo>
                  <a:cubicBezTo>
                    <a:pt x="59" y="45"/>
                    <a:pt x="68" y="39"/>
                    <a:pt x="85" y="39"/>
                  </a:cubicBezTo>
                  <a:cubicBezTo>
                    <a:pt x="95" y="38"/>
                    <a:pt x="97" y="21"/>
                    <a:pt x="88" y="12"/>
                  </a:cubicBezTo>
                  <a:cubicBezTo>
                    <a:pt x="79" y="0"/>
                    <a:pt x="90" y="3"/>
                    <a:pt x="122" y="19"/>
                  </a:cubicBezTo>
                  <a:cubicBezTo>
                    <a:pt x="147" y="31"/>
                    <a:pt x="153" y="36"/>
                    <a:pt x="160" y="50"/>
                  </a:cubicBezTo>
                  <a:cubicBezTo>
                    <a:pt x="164" y="59"/>
                    <a:pt x="170" y="71"/>
                    <a:pt x="173" y="77"/>
                  </a:cubicBezTo>
                  <a:cubicBezTo>
                    <a:pt x="176" y="82"/>
                    <a:pt x="183" y="94"/>
                    <a:pt x="188" y="104"/>
                  </a:cubicBezTo>
                  <a:cubicBezTo>
                    <a:pt x="196" y="122"/>
                    <a:pt x="196" y="122"/>
                    <a:pt x="188" y="130"/>
                  </a:cubicBezTo>
                  <a:cubicBezTo>
                    <a:pt x="182" y="136"/>
                    <a:pt x="179" y="137"/>
                    <a:pt x="172" y="133"/>
                  </a:cubicBezTo>
                  <a:cubicBezTo>
                    <a:pt x="164" y="128"/>
                    <a:pt x="163" y="129"/>
                    <a:pt x="167" y="136"/>
                  </a:cubicBezTo>
                  <a:cubicBezTo>
                    <a:pt x="170" y="141"/>
                    <a:pt x="171" y="147"/>
                    <a:pt x="169" y="149"/>
                  </a:cubicBezTo>
                  <a:cubicBezTo>
                    <a:pt x="163" y="158"/>
                    <a:pt x="164" y="190"/>
                    <a:pt x="170" y="197"/>
                  </a:cubicBezTo>
                  <a:cubicBezTo>
                    <a:pt x="179" y="208"/>
                    <a:pt x="169" y="232"/>
                    <a:pt x="139" y="268"/>
                  </a:cubicBezTo>
                  <a:cubicBezTo>
                    <a:pt x="136" y="271"/>
                    <a:pt x="134" y="278"/>
                    <a:pt x="133" y="282"/>
                  </a:cubicBezTo>
                  <a:cubicBezTo>
                    <a:pt x="133" y="287"/>
                    <a:pt x="131" y="295"/>
                    <a:pt x="128" y="299"/>
                  </a:cubicBezTo>
                  <a:cubicBezTo>
                    <a:pt x="123" y="310"/>
                    <a:pt x="125" y="352"/>
                    <a:pt x="133" y="370"/>
                  </a:cubicBezTo>
                  <a:cubicBezTo>
                    <a:pt x="136" y="378"/>
                    <a:pt x="142" y="386"/>
                    <a:pt x="146" y="388"/>
                  </a:cubicBezTo>
                  <a:cubicBezTo>
                    <a:pt x="161" y="394"/>
                    <a:pt x="184" y="409"/>
                    <a:pt x="184" y="413"/>
                  </a:cubicBezTo>
                  <a:cubicBezTo>
                    <a:pt x="184" y="415"/>
                    <a:pt x="181" y="422"/>
                    <a:pt x="178" y="428"/>
                  </a:cubicBezTo>
                  <a:cubicBezTo>
                    <a:pt x="175" y="434"/>
                    <a:pt x="173" y="443"/>
                    <a:pt x="174" y="448"/>
                  </a:cubicBezTo>
                  <a:cubicBezTo>
                    <a:pt x="176" y="454"/>
                    <a:pt x="173" y="459"/>
                    <a:pt x="164" y="468"/>
                  </a:cubicBezTo>
                  <a:cubicBezTo>
                    <a:pt x="151" y="479"/>
                    <a:pt x="151" y="480"/>
                    <a:pt x="155" y="498"/>
                  </a:cubicBezTo>
                  <a:cubicBezTo>
                    <a:pt x="158" y="510"/>
                    <a:pt x="158" y="519"/>
                    <a:pt x="156" y="522"/>
                  </a:cubicBezTo>
                  <a:cubicBezTo>
                    <a:pt x="154" y="525"/>
                    <a:pt x="154" y="535"/>
                    <a:pt x="156" y="549"/>
                  </a:cubicBezTo>
                  <a:cubicBezTo>
                    <a:pt x="161" y="577"/>
                    <a:pt x="153" y="599"/>
                    <a:pt x="136" y="602"/>
                  </a:cubicBezTo>
                  <a:cubicBezTo>
                    <a:pt x="123" y="605"/>
                    <a:pt x="113" y="619"/>
                    <a:pt x="119" y="626"/>
                  </a:cubicBezTo>
                  <a:cubicBezTo>
                    <a:pt x="125" y="633"/>
                    <a:pt x="115" y="644"/>
                    <a:pt x="98" y="647"/>
                  </a:cubicBezTo>
                  <a:cubicBezTo>
                    <a:pt x="84" y="649"/>
                    <a:pt x="83" y="649"/>
                    <a:pt x="87" y="642"/>
                  </a:cubicBezTo>
                  <a:close/>
                  <a:moveTo>
                    <a:pt x="196" y="535"/>
                  </a:moveTo>
                  <a:cubicBezTo>
                    <a:pt x="194" y="529"/>
                    <a:pt x="193" y="524"/>
                    <a:pt x="196" y="522"/>
                  </a:cubicBezTo>
                  <a:cubicBezTo>
                    <a:pt x="198" y="521"/>
                    <a:pt x="200" y="516"/>
                    <a:pt x="200" y="511"/>
                  </a:cubicBezTo>
                  <a:cubicBezTo>
                    <a:pt x="200" y="503"/>
                    <a:pt x="201" y="503"/>
                    <a:pt x="202" y="511"/>
                  </a:cubicBezTo>
                  <a:cubicBezTo>
                    <a:pt x="203" y="515"/>
                    <a:pt x="206" y="520"/>
                    <a:pt x="208" y="523"/>
                  </a:cubicBezTo>
                  <a:cubicBezTo>
                    <a:pt x="209" y="525"/>
                    <a:pt x="209" y="531"/>
                    <a:pt x="206" y="536"/>
                  </a:cubicBezTo>
                  <a:cubicBezTo>
                    <a:pt x="201" y="545"/>
                    <a:pt x="201" y="545"/>
                    <a:pt x="201" y="545"/>
                  </a:cubicBezTo>
                  <a:lnTo>
                    <a:pt x="196" y="535"/>
                  </a:lnTo>
                  <a:close/>
                </a:path>
              </a:pathLst>
            </a:custGeom>
            <a:solidFill>
              <a:srgbClr val="C5C5C5"/>
            </a:solidFill>
            <a:ln w="33338" cap="flat">
              <a:solidFill>
                <a:srgbClr val="C5C5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55" name="Freeform 9"/>
            <p:cNvSpPr>
              <a:spLocks/>
            </p:cNvSpPr>
            <p:nvPr userDrawn="1"/>
          </p:nvSpPr>
          <p:spPr bwMode="grayWhite">
            <a:xfrm>
              <a:off x="10198100" y="592137"/>
              <a:ext cx="192088" cy="414338"/>
            </a:xfrm>
            <a:custGeom>
              <a:avLst/>
              <a:gdLst>
                <a:gd name="T0" fmla="*/ 39 w 70"/>
                <a:gd name="T1" fmla="*/ 143 h 149"/>
                <a:gd name="T2" fmla="*/ 26 w 70"/>
                <a:gd name="T3" fmla="*/ 142 h 149"/>
                <a:gd name="T4" fmla="*/ 23 w 70"/>
                <a:gd name="T5" fmla="*/ 132 h 149"/>
                <a:gd name="T6" fmla="*/ 13 w 70"/>
                <a:gd name="T7" fmla="*/ 92 h 149"/>
                <a:gd name="T8" fmla="*/ 9 w 70"/>
                <a:gd name="T9" fmla="*/ 39 h 149"/>
                <a:gd name="T10" fmla="*/ 31 w 70"/>
                <a:gd name="T11" fmla="*/ 18 h 149"/>
                <a:gd name="T12" fmla="*/ 51 w 70"/>
                <a:gd name="T13" fmla="*/ 28 h 149"/>
                <a:gd name="T14" fmla="*/ 64 w 70"/>
                <a:gd name="T15" fmla="*/ 56 h 149"/>
                <a:gd name="T16" fmla="*/ 57 w 70"/>
                <a:gd name="T17" fmla="*/ 82 h 149"/>
                <a:gd name="T18" fmla="*/ 49 w 70"/>
                <a:gd name="T19" fmla="*/ 133 h 149"/>
                <a:gd name="T20" fmla="*/ 55 w 70"/>
                <a:gd name="T21" fmla="*/ 141 h 149"/>
                <a:gd name="T22" fmla="*/ 39 w 70"/>
                <a:gd name="T23" fmla="*/ 14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49">
                  <a:moveTo>
                    <a:pt x="39" y="143"/>
                  </a:moveTo>
                  <a:cubicBezTo>
                    <a:pt x="34" y="141"/>
                    <a:pt x="28" y="141"/>
                    <a:pt x="26" y="142"/>
                  </a:cubicBezTo>
                  <a:cubicBezTo>
                    <a:pt x="24" y="143"/>
                    <a:pt x="23" y="139"/>
                    <a:pt x="23" y="132"/>
                  </a:cubicBezTo>
                  <a:cubicBezTo>
                    <a:pt x="23" y="125"/>
                    <a:pt x="18" y="108"/>
                    <a:pt x="13" y="92"/>
                  </a:cubicBezTo>
                  <a:cubicBezTo>
                    <a:pt x="1" y="60"/>
                    <a:pt x="0" y="46"/>
                    <a:pt x="9" y="39"/>
                  </a:cubicBezTo>
                  <a:cubicBezTo>
                    <a:pt x="13" y="36"/>
                    <a:pt x="23" y="27"/>
                    <a:pt x="31" y="18"/>
                  </a:cubicBezTo>
                  <a:cubicBezTo>
                    <a:pt x="51" y="0"/>
                    <a:pt x="56" y="3"/>
                    <a:pt x="51" y="28"/>
                  </a:cubicBezTo>
                  <a:cubicBezTo>
                    <a:pt x="47" y="49"/>
                    <a:pt x="51" y="56"/>
                    <a:pt x="64" y="56"/>
                  </a:cubicBezTo>
                  <a:cubicBezTo>
                    <a:pt x="70" y="56"/>
                    <a:pt x="69" y="59"/>
                    <a:pt x="57" y="82"/>
                  </a:cubicBezTo>
                  <a:cubicBezTo>
                    <a:pt x="42" y="111"/>
                    <a:pt x="39" y="129"/>
                    <a:pt x="49" y="133"/>
                  </a:cubicBezTo>
                  <a:cubicBezTo>
                    <a:pt x="52" y="134"/>
                    <a:pt x="55" y="138"/>
                    <a:pt x="55" y="141"/>
                  </a:cubicBezTo>
                  <a:cubicBezTo>
                    <a:pt x="55" y="148"/>
                    <a:pt x="52" y="149"/>
                    <a:pt x="39" y="143"/>
                  </a:cubicBezTo>
                  <a:close/>
                </a:path>
              </a:pathLst>
            </a:custGeom>
            <a:solidFill>
              <a:srgbClr val="C5C5C5"/>
            </a:solidFill>
            <a:ln w="33338" cap="flat">
              <a:solidFill>
                <a:srgbClr val="C5C5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56" name="Freeform 10"/>
            <p:cNvSpPr>
              <a:spLocks/>
            </p:cNvSpPr>
            <p:nvPr userDrawn="1"/>
          </p:nvSpPr>
          <p:spPr bwMode="grayWhite">
            <a:xfrm>
              <a:off x="8374063" y="-669925"/>
              <a:ext cx="528638" cy="455613"/>
            </a:xfrm>
            <a:custGeom>
              <a:avLst/>
              <a:gdLst>
                <a:gd name="T0" fmla="*/ 67 w 193"/>
                <a:gd name="T1" fmla="*/ 155 h 164"/>
                <a:gd name="T2" fmla="*/ 44 w 193"/>
                <a:gd name="T3" fmla="*/ 134 h 164"/>
                <a:gd name="T4" fmla="*/ 33 w 193"/>
                <a:gd name="T5" fmla="*/ 124 h 164"/>
                <a:gd name="T6" fmla="*/ 18 w 193"/>
                <a:gd name="T7" fmla="*/ 122 h 164"/>
                <a:gd name="T8" fmla="*/ 16 w 193"/>
                <a:gd name="T9" fmla="*/ 114 h 164"/>
                <a:gd name="T10" fmla="*/ 12 w 193"/>
                <a:gd name="T11" fmla="*/ 88 h 164"/>
                <a:gd name="T12" fmla="*/ 1 w 193"/>
                <a:gd name="T13" fmla="*/ 65 h 164"/>
                <a:gd name="T14" fmla="*/ 22 w 193"/>
                <a:gd name="T15" fmla="*/ 66 h 164"/>
                <a:gd name="T16" fmla="*/ 43 w 193"/>
                <a:gd name="T17" fmla="*/ 66 h 164"/>
                <a:gd name="T18" fmla="*/ 40 w 193"/>
                <a:gd name="T19" fmla="*/ 63 h 164"/>
                <a:gd name="T20" fmla="*/ 40 w 193"/>
                <a:gd name="T21" fmla="*/ 57 h 164"/>
                <a:gd name="T22" fmla="*/ 36 w 193"/>
                <a:gd name="T23" fmla="*/ 45 h 164"/>
                <a:gd name="T24" fmla="*/ 17 w 193"/>
                <a:gd name="T25" fmla="*/ 39 h 164"/>
                <a:gd name="T26" fmla="*/ 10 w 193"/>
                <a:gd name="T27" fmla="*/ 35 h 164"/>
                <a:gd name="T28" fmla="*/ 19 w 193"/>
                <a:gd name="T29" fmla="*/ 33 h 164"/>
                <a:gd name="T30" fmla="*/ 24 w 193"/>
                <a:gd name="T31" fmla="*/ 30 h 164"/>
                <a:gd name="T32" fmla="*/ 25 w 193"/>
                <a:gd name="T33" fmla="*/ 18 h 164"/>
                <a:gd name="T34" fmla="*/ 36 w 193"/>
                <a:gd name="T35" fmla="*/ 23 h 164"/>
                <a:gd name="T36" fmla="*/ 45 w 193"/>
                <a:gd name="T37" fmla="*/ 33 h 164"/>
                <a:gd name="T38" fmla="*/ 43 w 193"/>
                <a:gd name="T39" fmla="*/ 20 h 164"/>
                <a:gd name="T40" fmla="*/ 54 w 193"/>
                <a:gd name="T41" fmla="*/ 16 h 164"/>
                <a:gd name="T42" fmla="*/ 57 w 193"/>
                <a:gd name="T43" fmla="*/ 38 h 164"/>
                <a:gd name="T44" fmla="*/ 57 w 193"/>
                <a:gd name="T45" fmla="*/ 67 h 164"/>
                <a:gd name="T46" fmla="*/ 63 w 193"/>
                <a:gd name="T47" fmla="*/ 61 h 164"/>
                <a:gd name="T48" fmla="*/ 71 w 193"/>
                <a:gd name="T49" fmla="*/ 55 h 164"/>
                <a:gd name="T50" fmla="*/ 79 w 193"/>
                <a:gd name="T51" fmla="*/ 46 h 164"/>
                <a:gd name="T52" fmla="*/ 86 w 193"/>
                <a:gd name="T53" fmla="*/ 43 h 164"/>
                <a:gd name="T54" fmla="*/ 101 w 193"/>
                <a:gd name="T55" fmla="*/ 44 h 164"/>
                <a:gd name="T56" fmla="*/ 114 w 193"/>
                <a:gd name="T57" fmla="*/ 49 h 164"/>
                <a:gd name="T58" fmla="*/ 121 w 193"/>
                <a:gd name="T59" fmla="*/ 59 h 164"/>
                <a:gd name="T60" fmla="*/ 123 w 193"/>
                <a:gd name="T61" fmla="*/ 53 h 164"/>
                <a:gd name="T62" fmla="*/ 130 w 193"/>
                <a:gd name="T63" fmla="*/ 49 h 164"/>
                <a:gd name="T64" fmla="*/ 143 w 193"/>
                <a:gd name="T65" fmla="*/ 53 h 164"/>
                <a:gd name="T66" fmla="*/ 157 w 193"/>
                <a:gd name="T67" fmla="*/ 43 h 164"/>
                <a:gd name="T68" fmla="*/ 164 w 193"/>
                <a:gd name="T69" fmla="*/ 38 h 164"/>
                <a:gd name="T70" fmla="*/ 166 w 193"/>
                <a:gd name="T71" fmla="*/ 47 h 164"/>
                <a:gd name="T72" fmla="*/ 175 w 193"/>
                <a:gd name="T73" fmla="*/ 58 h 164"/>
                <a:gd name="T74" fmla="*/ 182 w 193"/>
                <a:gd name="T75" fmla="*/ 74 h 164"/>
                <a:gd name="T76" fmla="*/ 185 w 193"/>
                <a:gd name="T77" fmla="*/ 93 h 164"/>
                <a:gd name="T78" fmla="*/ 183 w 193"/>
                <a:gd name="T79" fmla="*/ 127 h 164"/>
                <a:gd name="T80" fmla="*/ 171 w 193"/>
                <a:gd name="T81" fmla="*/ 134 h 164"/>
                <a:gd name="T82" fmla="*/ 154 w 193"/>
                <a:gd name="T83" fmla="*/ 142 h 164"/>
                <a:gd name="T84" fmla="*/ 137 w 193"/>
                <a:gd name="T85" fmla="*/ 148 h 164"/>
                <a:gd name="T86" fmla="*/ 112 w 193"/>
                <a:gd name="T87" fmla="*/ 154 h 164"/>
                <a:gd name="T88" fmla="*/ 93 w 193"/>
                <a:gd name="T89" fmla="*/ 158 h 164"/>
                <a:gd name="T90" fmla="*/ 67 w 193"/>
                <a:gd name="T91" fmla="*/ 1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3" h="164">
                  <a:moveTo>
                    <a:pt x="67" y="155"/>
                  </a:moveTo>
                  <a:cubicBezTo>
                    <a:pt x="58" y="150"/>
                    <a:pt x="47" y="141"/>
                    <a:pt x="44" y="134"/>
                  </a:cubicBezTo>
                  <a:cubicBezTo>
                    <a:pt x="40" y="128"/>
                    <a:pt x="35" y="123"/>
                    <a:pt x="33" y="124"/>
                  </a:cubicBezTo>
                  <a:cubicBezTo>
                    <a:pt x="31" y="126"/>
                    <a:pt x="24" y="124"/>
                    <a:pt x="18" y="122"/>
                  </a:cubicBezTo>
                  <a:cubicBezTo>
                    <a:pt x="8" y="117"/>
                    <a:pt x="8" y="117"/>
                    <a:pt x="16" y="114"/>
                  </a:cubicBezTo>
                  <a:cubicBezTo>
                    <a:pt x="24" y="111"/>
                    <a:pt x="24" y="110"/>
                    <a:pt x="12" y="88"/>
                  </a:cubicBezTo>
                  <a:cubicBezTo>
                    <a:pt x="5" y="76"/>
                    <a:pt x="0" y="65"/>
                    <a:pt x="1" y="65"/>
                  </a:cubicBezTo>
                  <a:cubicBezTo>
                    <a:pt x="2" y="64"/>
                    <a:pt x="11" y="65"/>
                    <a:pt x="22" y="66"/>
                  </a:cubicBezTo>
                  <a:cubicBezTo>
                    <a:pt x="32" y="68"/>
                    <a:pt x="42" y="68"/>
                    <a:pt x="43" y="66"/>
                  </a:cubicBezTo>
                  <a:cubicBezTo>
                    <a:pt x="44" y="64"/>
                    <a:pt x="43" y="63"/>
                    <a:pt x="40" y="63"/>
                  </a:cubicBezTo>
                  <a:cubicBezTo>
                    <a:pt x="37" y="63"/>
                    <a:pt x="37" y="61"/>
                    <a:pt x="40" y="57"/>
                  </a:cubicBezTo>
                  <a:cubicBezTo>
                    <a:pt x="44" y="52"/>
                    <a:pt x="43" y="50"/>
                    <a:pt x="36" y="45"/>
                  </a:cubicBezTo>
                  <a:cubicBezTo>
                    <a:pt x="31" y="41"/>
                    <a:pt x="23" y="39"/>
                    <a:pt x="17" y="39"/>
                  </a:cubicBezTo>
                  <a:cubicBezTo>
                    <a:pt x="12" y="39"/>
                    <a:pt x="9" y="37"/>
                    <a:pt x="10" y="35"/>
                  </a:cubicBezTo>
                  <a:cubicBezTo>
                    <a:pt x="12" y="33"/>
                    <a:pt x="16" y="32"/>
                    <a:pt x="19" y="33"/>
                  </a:cubicBezTo>
                  <a:cubicBezTo>
                    <a:pt x="24" y="35"/>
                    <a:pt x="25" y="34"/>
                    <a:pt x="24" y="30"/>
                  </a:cubicBezTo>
                  <a:cubicBezTo>
                    <a:pt x="22" y="27"/>
                    <a:pt x="23" y="21"/>
                    <a:pt x="25" y="18"/>
                  </a:cubicBezTo>
                  <a:cubicBezTo>
                    <a:pt x="27" y="14"/>
                    <a:pt x="30" y="15"/>
                    <a:pt x="36" y="23"/>
                  </a:cubicBezTo>
                  <a:cubicBezTo>
                    <a:pt x="45" y="33"/>
                    <a:pt x="45" y="33"/>
                    <a:pt x="45" y="33"/>
                  </a:cubicBezTo>
                  <a:cubicBezTo>
                    <a:pt x="43" y="20"/>
                    <a:pt x="43" y="20"/>
                    <a:pt x="43" y="20"/>
                  </a:cubicBezTo>
                  <a:cubicBezTo>
                    <a:pt x="41" y="2"/>
                    <a:pt x="46" y="0"/>
                    <a:pt x="54" y="16"/>
                  </a:cubicBezTo>
                  <a:cubicBezTo>
                    <a:pt x="60" y="26"/>
                    <a:pt x="61" y="31"/>
                    <a:pt x="57" y="38"/>
                  </a:cubicBezTo>
                  <a:cubicBezTo>
                    <a:pt x="51" y="48"/>
                    <a:pt x="51" y="67"/>
                    <a:pt x="57" y="67"/>
                  </a:cubicBezTo>
                  <a:cubicBezTo>
                    <a:pt x="59" y="67"/>
                    <a:pt x="62" y="64"/>
                    <a:pt x="63" y="61"/>
                  </a:cubicBezTo>
                  <a:cubicBezTo>
                    <a:pt x="64" y="57"/>
                    <a:pt x="68" y="55"/>
                    <a:pt x="71" y="55"/>
                  </a:cubicBezTo>
                  <a:cubicBezTo>
                    <a:pt x="74" y="55"/>
                    <a:pt x="77" y="51"/>
                    <a:pt x="79" y="46"/>
                  </a:cubicBezTo>
                  <a:cubicBezTo>
                    <a:pt x="81" y="38"/>
                    <a:pt x="82" y="38"/>
                    <a:pt x="86" y="43"/>
                  </a:cubicBezTo>
                  <a:cubicBezTo>
                    <a:pt x="90" y="48"/>
                    <a:pt x="92" y="48"/>
                    <a:pt x="101" y="44"/>
                  </a:cubicBezTo>
                  <a:cubicBezTo>
                    <a:pt x="110" y="39"/>
                    <a:pt x="111" y="40"/>
                    <a:pt x="114" y="49"/>
                  </a:cubicBezTo>
                  <a:cubicBezTo>
                    <a:pt x="116" y="54"/>
                    <a:pt x="119" y="59"/>
                    <a:pt x="121" y="59"/>
                  </a:cubicBezTo>
                  <a:cubicBezTo>
                    <a:pt x="124" y="59"/>
                    <a:pt x="124" y="56"/>
                    <a:pt x="123" y="53"/>
                  </a:cubicBezTo>
                  <a:cubicBezTo>
                    <a:pt x="121" y="46"/>
                    <a:pt x="125" y="44"/>
                    <a:pt x="130" y="49"/>
                  </a:cubicBezTo>
                  <a:cubicBezTo>
                    <a:pt x="131" y="51"/>
                    <a:pt x="137" y="52"/>
                    <a:pt x="143" y="53"/>
                  </a:cubicBezTo>
                  <a:cubicBezTo>
                    <a:pt x="151" y="54"/>
                    <a:pt x="154" y="52"/>
                    <a:pt x="157" y="43"/>
                  </a:cubicBezTo>
                  <a:cubicBezTo>
                    <a:pt x="160" y="35"/>
                    <a:pt x="162" y="34"/>
                    <a:pt x="164" y="38"/>
                  </a:cubicBezTo>
                  <a:cubicBezTo>
                    <a:pt x="166" y="42"/>
                    <a:pt x="167" y="45"/>
                    <a:pt x="166" y="47"/>
                  </a:cubicBezTo>
                  <a:cubicBezTo>
                    <a:pt x="165" y="49"/>
                    <a:pt x="169" y="54"/>
                    <a:pt x="175" y="58"/>
                  </a:cubicBezTo>
                  <a:cubicBezTo>
                    <a:pt x="184" y="65"/>
                    <a:pt x="185" y="68"/>
                    <a:pt x="182" y="74"/>
                  </a:cubicBezTo>
                  <a:cubicBezTo>
                    <a:pt x="178" y="79"/>
                    <a:pt x="179" y="83"/>
                    <a:pt x="185" y="93"/>
                  </a:cubicBezTo>
                  <a:cubicBezTo>
                    <a:pt x="193" y="107"/>
                    <a:pt x="192" y="127"/>
                    <a:pt x="183" y="127"/>
                  </a:cubicBezTo>
                  <a:cubicBezTo>
                    <a:pt x="180" y="127"/>
                    <a:pt x="175" y="130"/>
                    <a:pt x="171" y="134"/>
                  </a:cubicBezTo>
                  <a:cubicBezTo>
                    <a:pt x="167" y="138"/>
                    <a:pt x="160" y="142"/>
                    <a:pt x="154" y="142"/>
                  </a:cubicBezTo>
                  <a:cubicBezTo>
                    <a:pt x="149" y="142"/>
                    <a:pt x="141" y="145"/>
                    <a:pt x="137" y="148"/>
                  </a:cubicBezTo>
                  <a:cubicBezTo>
                    <a:pt x="131" y="153"/>
                    <a:pt x="124" y="155"/>
                    <a:pt x="112" y="154"/>
                  </a:cubicBezTo>
                  <a:cubicBezTo>
                    <a:pt x="101" y="153"/>
                    <a:pt x="95" y="154"/>
                    <a:pt x="93" y="158"/>
                  </a:cubicBezTo>
                  <a:cubicBezTo>
                    <a:pt x="91" y="164"/>
                    <a:pt x="85" y="164"/>
                    <a:pt x="67" y="155"/>
                  </a:cubicBezTo>
                  <a:close/>
                </a:path>
              </a:pathLst>
            </a:custGeom>
            <a:solidFill>
              <a:srgbClr val="C5C5C5"/>
            </a:solidFill>
            <a:ln w="33338" cap="flat">
              <a:solidFill>
                <a:srgbClr val="C5C5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57" name="Freeform 11"/>
            <p:cNvSpPr>
              <a:spLocks/>
            </p:cNvSpPr>
            <p:nvPr userDrawn="1"/>
          </p:nvSpPr>
          <p:spPr bwMode="grayWhite">
            <a:xfrm>
              <a:off x="8710613" y="2574925"/>
              <a:ext cx="350838" cy="635000"/>
            </a:xfrm>
            <a:custGeom>
              <a:avLst/>
              <a:gdLst>
                <a:gd name="T0" fmla="*/ 31 w 128"/>
                <a:gd name="T1" fmla="*/ 223 h 229"/>
                <a:gd name="T2" fmla="*/ 19 w 128"/>
                <a:gd name="T3" fmla="*/ 201 h 229"/>
                <a:gd name="T4" fmla="*/ 22 w 128"/>
                <a:gd name="T5" fmla="*/ 184 h 229"/>
                <a:gd name="T6" fmla="*/ 22 w 128"/>
                <a:gd name="T7" fmla="*/ 172 h 229"/>
                <a:gd name="T8" fmla="*/ 16 w 128"/>
                <a:gd name="T9" fmla="*/ 158 h 229"/>
                <a:gd name="T10" fmla="*/ 5 w 128"/>
                <a:gd name="T11" fmla="*/ 134 h 229"/>
                <a:gd name="T12" fmla="*/ 7 w 128"/>
                <a:gd name="T13" fmla="*/ 122 h 229"/>
                <a:gd name="T14" fmla="*/ 9 w 128"/>
                <a:gd name="T15" fmla="*/ 117 h 229"/>
                <a:gd name="T16" fmla="*/ 36 w 128"/>
                <a:gd name="T17" fmla="*/ 69 h 229"/>
                <a:gd name="T18" fmla="*/ 39 w 128"/>
                <a:gd name="T19" fmla="*/ 29 h 229"/>
                <a:gd name="T20" fmla="*/ 48 w 128"/>
                <a:gd name="T21" fmla="*/ 1 h 229"/>
                <a:gd name="T22" fmla="*/ 55 w 128"/>
                <a:gd name="T23" fmla="*/ 6 h 229"/>
                <a:gd name="T24" fmla="*/ 82 w 128"/>
                <a:gd name="T25" fmla="*/ 12 h 229"/>
                <a:gd name="T26" fmla="*/ 118 w 128"/>
                <a:gd name="T27" fmla="*/ 21 h 229"/>
                <a:gd name="T28" fmla="*/ 112 w 128"/>
                <a:gd name="T29" fmla="*/ 43 h 229"/>
                <a:gd name="T30" fmla="*/ 94 w 128"/>
                <a:gd name="T31" fmla="*/ 77 h 229"/>
                <a:gd name="T32" fmla="*/ 78 w 128"/>
                <a:gd name="T33" fmla="*/ 113 h 229"/>
                <a:gd name="T34" fmla="*/ 77 w 128"/>
                <a:gd name="T35" fmla="*/ 131 h 229"/>
                <a:gd name="T36" fmla="*/ 78 w 128"/>
                <a:gd name="T37" fmla="*/ 155 h 229"/>
                <a:gd name="T38" fmla="*/ 77 w 128"/>
                <a:gd name="T39" fmla="*/ 175 h 229"/>
                <a:gd name="T40" fmla="*/ 71 w 128"/>
                <a:gd name="T41" fmla="*/ 191 h 229"/>
                <a:gd name="T42" fmla="*/ 62 w 128"/>
                <a:gd name="T43" fmla="*/ 210 h 229"/>
                <a:gd name="T44" fmla="*/ 50 w 128"/>
                <a:gd name="T45" fmla="*/ 228 h 229"/>
                <a:gd name="T46" fmla="*/ 31 w 128"/>
                <a:gd name="T47" fmla="*/ 223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8" h="229">
                  <a:moveTo>
                    <a:pt x="31" y="223"/>
                  </a:moveTo>
                  <a:cubicBezTo>
                    <a:pt x="12" y="219"/>
                    <a:pt x="11" y="217"/>
                    <a:pt x="19" y="201"/>
                  </a:cubicBezTo>
                  <a:cubicBezTo>
                    <a:pt x="23" y="194"/>
                    <a:pt x="24" y="188"/>
                    <a:pt x="22" y="184"/>
                  </a:cubicBezTo>
                  <a:cubicBezTo>
                    <a:pt x="20" y="181"/>
                    <a:pt x="20" y="176"/>
                    <a:pt x="22" y="172"/>
                  </a:cubicBezTo>
                  <a:cubicBezTo>
                    <a:pt x="27" y="163"/>
                    <a:pt x="23" y="155"/>
                    <a:pt x="16" y="158"/>
                  </a:cubicBezTo>
                  <a:cubicBezTo>
                    <a:pt x="8" y="161"/>
                    <a:pt x="0" y="143"/>
                    <a:pt x="5" y="134"/>
                  </a:cubicBezTo>
                  <a:cubicBezTo>
                    <a:pt x="7" y="130"/>
                    <a:pt x="8" y="124"/>
                    <a:pt x="7" y="122"/>
                  </a:cubicBezTo>
                  <a:cubicBezTo>
                    <a:pt x="6" y="119"/>
                    <a:pt x="7" y="117"/>
                    <a:pt x="9" y="117"/>
                  </a:cubicBezTo>
                  <a:cubicBezTo>
                    <a:pt x="14" y="117"/>
                    <a:pt x="32" y="85"/>
                    <a:pt x="36" y="69"/>
                  </a:cubicBezTo>
                  <a:cubicBezTo>
                    <a:pt x="38" y="61"/>
                    <a:pt x="39" y="43"/>
                    <a:pt x="39" y="29"/>
                  </a:cubicBezTo>
                  <a:cubicBezTo>
                    <a:pt x="39" y="5"/>
                    <a:pt x="40" y="2"/>
                    <a:pt x="48" y="1"/>
                  </a:cubicBezTo>
                  <a:cubicBezTo>
                    <a:pt x="55" y="0"/>
                    <a:pt x="57" y="2"/>
                    <a:pt x="55" y="6"/>
                  </a:cubicBezTo>
                  <a:cubicBezTo>
                    <a:pt x="54" y="10"/>
                    <a:pt x="59" y="11"/>
                    <a:pt x="82" y="12"/>
                  </a:cubicBezTo>
                  <a:cubicBezTo>
                    <a:pt x="107" y="12"/>
                    <a:pt x="112" y="14"/>
                    <a:pt x="118" y="21"/>
                  </a:cubicBezTo>
                  <a:cubicBezTo>
                    <a:pt x="127" y="33"/>
                    <a:pt x="128" y="33"/>
                    <a:pt x="112" y="43"/>
                  </a:cubicBezTo>
                  <a:cubicBezTo>
                    <a:pt x="101" y="51"/>
                    <a:pt x="98" y="56"/>
                    <a:pt x="94" y="77"/>
                  </a:cubicBezTo>
                  <a:cubicBezTo>
                    <a:pt x="87" y="112"/>
                    <a:pt x="87" y="113"/>
                    <a:pt x="78" y="113"/>
                  </a:cubicBezTo>
                  <a:cubicBezTo>
                    <a:pt x="68" y="113"/>
                    <a:pt x="68" y="115"/>
                    <a:pt x="77" y="131"/>
                  </a:cubicBezTo>
                  <a:cubicBezTo>
                    <a:pt x="84" y="141"/>
                    <a:pt x="84" y="144"/>
                    <a:pt x="78" y="155"/>
                  </a:cubicBezTo>
                  <a:cubicBezTo>
                    <a:pt x="74" y="164"/>
                    <a:pt x="74" y="169"/>
                    <a:pt x="77" y="175"/>
                  </a:cubicBezTo>
                  <a:cubicBezTo>
                    <a:pt x="80" y="181"/>
                    <a:pt x="79" y="184"/>
                    <a:pt x="71" y="191"/>
                  </a:cubicBezTo>
                  <a:cubicBezTo>
                    <a:pt x="66" y="196"/>
                    <a:pt x="62" y="204"/>
                    <a:pt x="62" y="210"/>
                  </a:cubicBezTo>
                  <a:cubicBezTo>
                    <a:pt x="62" y="218"/>
                    <a:pt x="55" y="229"/>
                    <a:pt x="50" y="228"/>
                  </a:cubicBezTo>
                  <a:cubicBezTo>
                    <a:pt x="49" y="228"/>
                    <a:pt x="40" y="225"/>
                    <a:pt x="31" y="223"/>
                  </a:cubicBezTo>
                  <a:close/>
                </a:path>
              </a:pathLst>
            </a:custGeom>
            <a:solidFill>
              <a:srgbClr val="C5C5C5"/>
            </a:solidFill>
            <a:ln w="33338" cap="flat">
              <a:solidFill>
                <a:srgbClr val="C5C5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58" name="Freeform 12"/>
            <p:cNvSpPr>
              <a:spLocks noEditPoints="1"/>
            </p:cNvSpPr>
            <p:nvPr userDrawn="1"/>
          </p:nvSpPr>
          <p:spPr bwMode="grayWhite">
            <a:xfrm>
              <a:off x="8793163" y="2378075"/>
              <a:ext cx="1238250" cy="971550"/>
            </a:xfrm>
            <a:custGeom>
              <a:avLst/>
              <a:gdLst>
                <a:gd name="T0" fmla="*/ 80 w 452"/>
                <a:gd name="T1" fmla="*/ 334 h 350"/>
                <a:gd name="T2" fmla="*/ 68 w 452"/>
                <a:gd name="T3" fmla="*/ 313 h 350"/>
                <a:gd name="T4" fmla="*/ 43 w 452"/>
                <a:gd name="T5" fmla="*/ 292 h 350"/>
                <a:gd name="T6" fmla="*/ 52 w 452"/>
                <a:gd name="T7" fmla="*/ 259 h 350"/>
                <a:gd name="T8" fmla="*/ 51 w 452"/>
                <a:gd name="T9" fmla="*/ 247 h 350"/>
                <a:gd name="T10" fmla="*/ 53 w 452"/>
                <a:gd name="T11" fmla="*/ 225 h 350"/>
                <a:gd name="T12" fmla="*/ 51 w 452"/>
                <a:gd name="T13" fmla="*/ 201 h 350"/>
                <a:gd name="T14" fmla="*/ 52 w 452"/>
                <a:gd name="T15" fmla="*/ 187 h 350"/>
                <a:gd name="T16" fmla="*/ 68 w 452"/>
                <a:gd name="T17" fmla="*/ 149 h 350"/>
                <a:gd name="T18" fmla="*/ 75 w 452"/>
                <a:gd name="T19" fmla="*/ 123 h 350"/>
                <a:gd name="T20" fmla="*/ 89 w 452"/>
                <a:gd name="T21" fmla="*/ 114 h 350"/>
                <a:gd name="T22" fmla="*/ 95 w 452"/>
                <a:gd name="T23" fmla="*/ 94 h 350"/>
                <a:gd name="T24" fmla="*/ 53 w 452"/>
                <a:gd name="T25" fmla="*/ 79 h 350"/>
                <a:gd name="T26" fmla="*/ 31 w 452"/>
                <a:gd name="T27" fmla="*/ 72 h 350"/>
                <a:gd name="T28" fmla="*/ 20 w 452"/>
                <a:gd name="T29" fmla="*/ 68 h 350"/>
                <a:gd name="T30" fmla="*/ 11 w 452"/>
                <a:gd name="T31" fmla="*/ 60 h 350"/>
                <a:gd name="T32" fmla="*/ 7 w 452"/>
                <a:gd name="T33" fmla="*/ 42 h 350"/>
                <a:gd name="T34" fmla="*/ 0 w 452"/>
                <a:gd name="T35" fmla="*/ 27 h 350"/>
                <a:gd name="T36" fmla="*/ 23 w 452"/>
                <a:gd name="T37" fmla="*/ 12 h 350"/>
                <a:gd name="T38" fmla="*/ 38 w 452"/>
                <a:gd name="T39" fmla="*/ 5 h 350"/>
                <a:gd name="T40" fmla="*/ 55 w 452"/>
                <a:gd name="T41" fmla="*/ 1 h 350"/>
                <a:gd name="T42" fmla="*/ 96 w 452"/>
                <a:gd name="T43" fmla="*/ 7 h 350"/>
                <a:gd name="T44" fmla="*/ 138 w 452"/>
                <a:gd name="T45" fmla="*/ 15 h 350"/>
                <a:gd name="T46" fmla="*/ 174 w 452"/>
                <a:gd name="T47" fmla="*/ 22 h 350"/>
                <a:gd name="T48" fmla="*/ 251 w 452"/>
                <a:gd name="T49" fmla="*/ 33 h 350"/>
                <a:gd name="T50" fmla="*/ 320 w 452"/>
                <a:gd name="T51" fmla="*/ 54 h 350"/>
                <a:gd name="T52" fmla="*/ 344 w 452"/>
                <a:gd name="T53" fmla="*/ 61 h 350"/>
                <a:gd name="T54" fmla="*/ 382 w 452"/>
                <a:gd name="T55" fmla="*/ 69 h 350"/>
                <a:gd name="T56" fmla="*/ 414 w 452"/>
                <a:gd name="T57" fmla="*/ 72 h 350"/>
                <a:gd name="T58" fmla="*/ 412 w 452"/>
                <a:gd name="T59" fmla="*/ 76 h 350"/>
                <a:gd name="T60" fmla="*/ 411 w 452"/>
                <a:gd name="T61" fmla="*/ 83 h 350"/>
                <a:gd name="T62" fmla="*/ 405 w 452"/>
                <a:gd name="T63" fmla="*/ 98 h 350"/>
                <a:gd name="T64" fmla="*/ 386 w 452"/>
                <a:gd name="T65" fmla="*/ 112 h 350"/>
                <a:gd name="T66" fmla="*/ 360 w 452"/>
                <a:gd name="T67" fmla="*/ 124 h 350"/>
                <a:gd name="T68" fmla="*/ 333 w 452"/>
                <a:gd name="T69" fmla="*/ 143 h 350"/>
                <a:gd name="T70" fmla="*/ 310 w 452"/>
                <a:gd name="T71" fmla="*/ 177 h 350"/>
                <a:gd name="T72" fmla="*/ 306 w 452"/>
                <a:gd name="T73" fmla="*/ 228 h 350"/>
                <a:gd name="T74" fmla="*/ 316 w 452"/>
                <a:gd name="T75" fmla="*/ 233 h 350"/>
                <a:gd name="T76" fmla="*/ 303 w 452"/>
                <a:gd name="T77" fmla="*/ 241 h 350"/>
                <a:gd name="T78" fmla="*/ 278 w 452"/>
                <a:gd name="T79" fmla="*/ 284 h 350"/>
                <a:gd name="T80" fmla="*/ 270 w 452"/>
                <a:gd name="T81" fmla="*/ 287 h 350"/>
                <a:gd name="T82" fmla="*/ 248 w 452"/>
                <a:gd name="T83" fmla="*/ 297 h 350"/>
                <a:gd name="T84" fmla="*/ 234 w 452"/>
                <a:gd name="T85" fmla="*/ 316 h 350"/>
                <a:gd name="T86" fmla="*/ 226 w 452"/>
                <a:gd name="T87" fmla="*/ 321 h 350"/>
                <a:gd name="T88" fmla="*/ 214 w 452"/>
                <a:gd name="T89" fmla="*/ 323 h 350"/>
                <a:gd name="T90" fmla="*/ 193 w 452"/>
                <a:gd name="T91" fmla="*/ 323 h 350"/>
                <a:gd name="T92" fmla="*/ 163 w 452"/>
                <a:gd name="T93" fmla="*/ 320 h 350"/>
                <a:gd name="T94" fmla="*/ 108 w 452"/>
                <a:gd name="T95" fmla="*/ 341 h 350"/>
                <a:gd name="T96" fmla="*/ 80 w 452"/>
                <a:gd name="T97" fmla="*/ 334 h 350"/>
                <a:gd name="T98" fmla="*/ 352 w 452"/>
                <a:gd name="T99" fmla="*/ 224 h 350"/>
                <a:gd name="T100" fmla="*/ 356 w 452"/>
                <a:gd name="T101" fmla="*/ 220 h 350"/>
                <a:gd name="T102" fmla="*/ 356 w 452"/>
                <a:gd name="T103" fmla="*/ 226 h 350"/>
                <a:gd name="T104" fmla="*/ 352 w 452"/>
                <a:gd name="T105" fmla="*/ 224 h 350"/>
                <a:gd name="T106" fmla="*/ 406 w 452"/>
                <a:gd name="T107" fmla="*/ 201 h 350"/>
                <a:gd name="T108" fmla="*/ 395 w 452"/>
                <a:gd name="T109" fmla="*/ 198 h 350"/>
                <a:gd name="T110" fmla="*/ 392 w 452"/>
                <a:gd name="T111" fmla="*/ 197 h 350"/>
                <a:gd name="T112" fmla="*/ 415 w 452"/>
                <a:gd name="T113" fmla="*/ 187 h 350"/>
                <a:gd name="T114" fmla="*/ 418 w 452"/>
                <a:gd name="T115" fmla="*/ 198 h 350"/>
                <a:gd name="T116" fmla="*/ 406 w 452"/>
                <a:gd name="T117" fmla="*/ 201 h 350"/>
                <a:gd name="T118" fmla="*/ 442 w 452"/>
                <a:gd name="T119" fmla="*/ 176 h 350"/>
                <a:gd name="T120" fmla="*/ 452 w 452"/>
                <a:gd name="T121" fmla="*/ 176 h 350"/>
                <a:gd name="T122" fmla="*/ 445 w 452"/>
                <a:gd name="T123" fmla="*/ 180 h 350"/>
                <a:gd name="T124" fmla="*/ 442 w 452"/>
                <a:gd name="T125" fmla="*/ 176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2" h="350">
                  <a:moveTo>
                    <a:pt x="80" y="334"/>
                  </a:moveTo>
                  <a:cubicBezTo>
                    <a:pt x="73" y="327"/>
                    <a:pt x="68" y="317"/>
                    <a:pt x="68" y="313"/>
                  </a:cubicBezTo>
                  <a:cubicBezTo>
                    <a:pt x="68" y="303"/>
                    <a:pt x="54" y="292"/>
                    <a:pt x="43" y="292"/>
                  </a:cubicBezTo>
                  <a:cubicBezTo>
                    <a:pt x="29" y="292"/>
                    <a:pt x="36" y="264"/>
                    <a:pt x="52" y="259"/>
                  </a:cubicBezTo>
                  <a:cubicBezTo>
                    <a:pt x="55" y="258"/>
                    <a:pt x="55" y="254"/>
                    <a:pt x="51" y="247"/>
                  </a:cubicBezTo>
                  <a:cubicBezTo>
                    <a:pt x="48" y="239"/>
                    <a:pt x="48" y="234"/>
                    <a:pt x="53" y="225"/>
                  </a:cubicBezTo>
                  <a:cubicBezTo>
                    <a:pt x="59" y="214"/>
                    <a:pt x="58" y="212"/>
                    <a:pt x="51" y="201"/>
                  </a:cubicBezTo>
                  <a:cubicBezTo>
                    <a:pt x="44" y="190"/>
                    <a:pt x="44" y="190"/>
                    <a:pt x="52" y="187"/>
                  </a:cubicBezTo>
                  <a:cubicBezTo>
                    <a:pt x="61" y="183"/>
                    <a:pt x="61" y="183"/>
                    <a:pt x="68" y="149"/>
                  </a:cubicBezTo>
                  <a:cubicBezTo>
                    <a:pt x="71" y="135"/>
                    <a:pt x="74" y="123"/>
                    <a:pt x="75" y="123"/>
                  </a:cubicBezTo>
                  <a:cubicBezTo>
                    <a:pt x="77" y="123"/>
                    <a:pt x="82" y="119"/>
                    <a:pt x="89" y="114"/>
                  </a:cubicBezTo>
                  <a:cubicBezTo>
                    <a:pt x="99" y="106"/>
                    <a:pt x="99" y="104"/>
                    <a:pt x="95" y="94"/>
                  </a:cubicBezTo>
                  <a:cubicBezTo>
                    <a:pt x="88" y="81"/>
                    <a:pt x="84" y="80"/>
                    <a:pt x="53" y="79"/>
                  </a:cubicBezTo>
                  <a:cubicBezTo>
                    <a:pt x="33" y="78"/>
                    <a:pt x="29" y="77"/>
                    <a:pt x="31" y="72"/>
                  </a:cubicBezTo>
                  <a:cubicBezTo>
                    <a:pt x="32" y="68"/>
                    <a:pt x="30" y="67"/>
                    <a:pt x="20" y="68"/>
                  </a:cubicBezTo>
                  <a:cubicBezTo>
                    <a:pt x="6" y="70"/>
                    <a:pt x="6" y="70"/>
                    <a:pt x="11" y="60"/>
                  </a:cubicBezTo>
                  <a:cubicBezTo>
                    <a:pt x="14" y="54"/>
                    <a:pt x="13" y="50"/>
                    <a:pt x="7" y="42"/>
                  </a:cubicBezTo>
                  <a:cubicBezTo>
                    <a:pt x="3" y="37"/>
                    <a:pt x="0" y="30"/>
                    <a:pt x="0" y="27"/>
                  </a:cubicBezTo>
                  <a:cubicBezTo>
                    <a:pt x="0" y="20"/>
                    <a:pt x="12" y="12"/>
                    <a:pt x="23" y="12"/>
                  </a:cubicBezTo>
                  <a:cubicBezTo>
                    <a:pt x="28" y="12"/>
                    <a:pt x="35" y="9"/>
                    <a:pt x="38" y="5"/>
                  </a:cubicBezTo>
                  <a:cubicBezTo>
                    <a:pt x="43" y="1"/>
                    <a:pt x="48" y="0"/>
                    <a:pt x="55" y="1"/>
                  </a:cubicBezTo>
                  <a:cubicBezTo>
                    <a:pt x="61" y="3"/>
                    <a:pt x="79" y="6"/>
                    <a:pt x="96" y="7"/>
                  </a:cubicBezTo>
                  <a:cubicBezTo>
                    <a:pt x="112" y="9"/>
                    <a:pt x="131" y="13"/>
                    <a:pt x="138" y="15"/>
                  </a:cubicBezTo>
                  <a:cubicBezTo>
                    <a:pt x="144" y="18"/>
                    <a:pt x="160" y="21"/>
                    <a:pt x="174" y="22"/>
                  </a:cubicBezTo>
                  <a:cubicBezTo>
                    <a:pt x="220" y="24"/>
                    <a:pt x="245" y="28"/>
                    <a:pt x="251" y="33"/>
                  </a:cubicBezTo>
                  <a:cubicBezTo>
                    <a:pt x="264" y="45"/>
                    <a:pt x="304" y="57"/>
                    <a:pt x="320" y="54"/>
                  </a:cubicBezTo>
                  <a:cubicBezTo>
                    <a:pt x="333" y="52"/>
                    <a:pt x="337" y="53"/>
                    <a:pt x="344" y="61"/>
                  </a:cubicBezTo>
                  <a:cubicBezTo>
                    <a:pt x="351" y="70"/>
                    <a:pt x="355" y="70"/>
                    <a:pt x="382" y="69"/>
                  </a:cubicBezTo>
                  <a:cubicBezTo>
                    <a:pt x="398" y="68"/>
                    <a:pt x="412" y="70"/>
                    <a:pt x="414" y="72"/>
                  </a:cubicBezTo>
                  <a:cubicBezTo>
                    <a:pt x="415" y="74"/>
                    <a:pt x="414" y="76"/>
                    <a:pt x="412" y="76"/>
                  </a:cubicBezTo>
                  <a:cubicBezTo>
                    <a:pt x="408" y="76"/>
                    <a:pt x="408" y="78"/>
                    <a:pt x="411" y="83"/>
                  </a:cubicBezTo>
                  <a:cubicBezTo>
                    <a:pt x="415" y="90"/>
                    <a:pt x="414" y="92"/>
                    <a:pt x="405" y="98"/>
                  </a:cubicBezTo>
                  <a:cubicBezTo>
                    <a:pt x="398" y="102"/>
                    <a:pt x="390" y="108"/>
                    <a:pt x="386" y="112"/>
                  </a:cubicBezTo>
                  <a:cubicBezTo>
                    <a:pt x="381" y="115"/>
                    <a:pt x="370" y="121"/>
                    <a:pt x="360" y="124"/>
                  </a:cubicBezTo>
                  <a:cubicBezTo>
                    <a:pt x="348" y="127"/>
                    <a:pt x="340" y="133"/>
                    <a:pt x="333" y="143"/>
                  </a:cubicBezTo>
                  <a:cubicBezTo>
                    <a:pt x="328" y="151"/>
                    <a:pt x="317" y="166"/>
                    <a:pt x="310" y="177"/>
                  </a:cubicBezTo>
                  <a:cubicBezTo>
                    <a:pt x="292" y="201"/>
                    <a:pt x="290" y="221"/>
                    <a:pt x="306" y="228"/>
                  </a:cubicBezTo>
                  <a:cubicBezTo>
                    <a:pt x="316" y="233"/>
                    <a:pt x="316" y="233"/>
                    <a:pt x="316" y="233"/>
                  </a:cubicBezTo>
                  <a:cubicBezTo>
                    <a:pt x="303" y="241"/>
                    <a:pt x="303" y="241"/>
                    <a:pt x="303" y="241"/>
                  </a:cubicBezTo>
                  <a:cubicBezTo>
                    <a:pt x="290" y="249"/>
                    <a:pt x="274" y="277"/>
                    <a:pt x="278" y="284"/>
                  </a:cubicBezTo>
                  <a:cubicBezTo>
                    <a:pt x="280" y="287"/>
                    <a:pt x="277" y="288"/>
                    <a:pt x="270" y="287"/>
                  </a:cubicBezTo>
                  <a:cubicBezTo>
                    <a:pt x="262" y="285"/>
                    <a:pt x="257" y="288"/>
                    <a:pt x="248" y="297"/>
                  </a:cubicBezTo>
                  <a:cubicBezTo>
                    <a:pt x="242" y="304"/>
                    <a:pt x="236" y="313"/>
                    <a:pt x="234" y="316"/>
                  </a:cubicBezTo>
                  <a:cubicBezTo>
                    <a:pt x="233" y="321"/>
                    <a:pt x="229" y="322"/>
                    <a:pt x="226" y="321"/>
                  </a:cubicBezTo>
                  <a:cubicBezTo>
                    <a:pt x="222" y="320"/>
                    <a:pt x="217" y="321"/>
                    <a:pt x="214" y="323"/>
                  </a:cubicBezTo>
                  <a:cubicBezTo>
                    <a:pt x="211" y="326"/>
                    <a:pt x="204" y="326"/>
                    <a:pt x="193" y="323"/>
                  </a:cubicBezTo>
                  <a:cubicBezTo>
                    <a:pt x="185" y="321"/>
                    <a:pt x="171" y="320"/>
                    <a:pt x="163" y="320"/>
                  </a:cubicBezTo>
                  <a:cubicBezTo>
                    <a:pt x="146" y="319"/>
                    <a:pt x="116" y="331"/>
                    <a:pt x="108" y="341"/>
                  </a:cubicBezTo>
                  <a:cubicBezTo>
                    <a:pt x="100" y="350"/>
                    <a:pt x="95" y="349"/>
                    <a:pt x="80" y="334"/>
                  </a:cubicBezTo>
                  <a:close/>
                  <a:moveTo>
                    <a:pt x="352" y="224"/>
                  </a:moveTo>
                  <a:cubicBezTo>
                    <a:pt x="352" y="221"/>
                    <a:pt x="353" y="220"/>
                    <a:pt x="356" y="220"/>
                  </a:cubicBezTo>
                  <a:cubicBezTo>
                    <a:pt x="361" y="220"/>
                    <a:pt x="361" y="222"/>
                    <a:pt x="356" y="226"/>
                  </a:cubicBezTo>
                  <a:cubicBezTo>
                    <a:pt x="353" y="227"/>
                    <a:pt x="352" y="226"/>
                    <a:pt x="352" y="224"/>
                  </a:cubicBezTo>
                  <a:close/>
                  <a:moveTo>
                    <a:pt x="406" y="201"/>
                  </a:moveTo>
                  <a:cubicBezTo>
                    <a:pt x="402" y="198"/>
                    <a:pt x="397" y="197"/>
                    <a:pt x="395" y="198"/>
                  </a:cubicBezTo>
                  <a:cubicBezTo>
                    <a:pt x="393" y="199"/>
                    <a:pt x="392" y="199"/>
                    <a:pt x="392" y="197"/>
                  </a:cubicBezTo>
                  <a:cubicBezTo>
                    <a:pt x="392" y="190"/>
                    <a:pt x="407" y="184"/>
                    <a:pt x="415" y="187"/>
                  </a:cubicBezTo>
                  <a:cubicBezTo>
                    <a:pt x="422" y="189"/>
                    <a:pt x="422" y="191"/>
                    <a:pt x="418" y="198"/>
                  </a:cubicBezTo>
                  <a:cubicBezTo>
                    <a:pt x="414" y="206"/>
                    <a:pt x="413" y="206"/>
                    <a:pt x="406" y="201"/>
                  </a:cubicBezTo>
                  <a:close/>
                  <a:moveTo>
                    <a:pt x="442" y="176"/>
                  </a:moveTo>
                  <a:cubicBezTo>
                    <a:pt x="445" y="170"/>
                    <a:pt x="452" y="170"/>
                    <a:pt x="452" y="176"/>
                  </a:cubicBezTo>
                  <a:cubicBezTo>
                    <a:pt x="452" y="178"/>
                    <a:pt x="449" y="180"/>
                    <a:pt x="445" y="180"/>
                  </a:cubicBezTo>
                  <a:cubicBezTo>
                    <a:pt x="442" y="180"/>
                    <a:pt x="440" y="178"/>
                    <a:pt x="442" y="176"/>
                  </a:cubicBezTo>
                  <a:close/>
                </a:path>
              </a:pathLst>
            </a:custGeom>
            <a:solidFill>
              <a:srgbClr val="C5C5C5"/>
            </a:solidFill>
            <a:ln w="33338" cap="flat">
              <a:solidFill>
                <a:srgbClr val="C5C5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59" name="Freeform 13"/>
            <p:cNvSpPr>
              <a:spLocks noEditPoints="1"/>
            </p:cNvSpPr>
            <p:nvPr userDrawn="1"/>
          </p:nvSpPr>
          <p:spPr bwMode="grayWhite">
            <a:xfrm>
              <a:off x="9194800" y="42862"/>
              <a:ext cx="1309688" cy="963613"/>
            </a:xfrm>
            <a:custGeom>
              <a:avLst/>
              <a:gdLst>
                <a:gd name="T0" fmla="*/ 405 w 478"/>
                <a:gd name="T1" fmla="*/ 341 h 347"/>
                <a:gd name="T2" fmla="*/ 392 w 478"/>
                <a:gd name="T3" fmla="*/ 340 h 347"/>
                <a:gd name="T4" fmla="*/ 389 w 478"/>
                <a:gd name="T5" fmla="*/ 330 h 347"/>
                <a:gd name="T6" fmla="*/ 379 w 478"/>
                <a:gd name="T7" fmla="*/ 290 h 347"/>
                <a:gd name="T8" fmla="*/ 375 w 478"/>
                <a:gd name="T9" fmla="*/ 237 h 347"/>
                <a:gd name="T10" fmla="*/ 397 w 478"/>
                <a:gd name="T11" fmla="*/ 216 h 347"/>
                <a:gd name="T12" fmla="*/ 417 w 478"/>
                <a:gd name="T13" fmla="*/ 226 h 347"/>
                <a:gd name="T14" fmla="*/ 430 w 478"/>
                <a:gd name="T15" fmla="*/ 254 h 347"/>
                <a:gd name="T16" fmla="*/ 423 w 478"/>
                <a:gd name="T17" fmla="*/ 280 h 347"/>
                <a:gd name="T18" fmla="*/ 415 w 478"/>
                <a:gd name="T19" fmla="*/ 331 h 347"/>
                <a:gd name="T20" fmla="*/ 421 w 478"/>
                <a:gd name="T21" fmla="*/ 339 h 347"/>
                <a:gd name="T22" fmla="*/ 405 w 478"/>
                <a:gd name="T23" fmla="*/ 341 h 347"/>
                <a:gd name="T24" fmla="*/ 456 w 478"/>
                <a:gd name="T25" fmla="*/ 333 h 347"/>
                <a:gd name="T26" fmla="*/ 455 w 478"/>
                <a:gd name="T27" fmla="*/ 316 h 347"/>
                <a:gd name="T28" fmla="*/ 472 w 478"/>
                <a:gd name="T29" fmla="*/ 294 h 347"/>
                <a:gd name="T30" fmla="*/ 467 w 478"/>
                <a:gd name="T31" fmla="*/ 330 h 347"/>
                <a:gd name="T32" fmla="*/ 456 w 478"/>
                <a:gd name="T33" fmla="*/ 333 h 347"/>
                <a:gd name="T34" fmla="*/ 426 w 478"/>
                <a:gd name="T35" fmla="*/ 318 h 347"/>
                <a:gd name="T36" fmla="*/ 427 w 478"/>
                <a:gd name="T37" fmla="*/ 308 h 347"/>
                <a:gd name="T38" fmla="*/ 434 w 478"/>
                <a:gd name="T39" fmla="*/ 313 h 347"/>
                <a:gd name="T40" fmla="*/ 426 w 478"/>
                <a:gd name="T41" fmla="*/ 318 h 347"/>
                <a:gd name="T42" fmla="*/ 5 w 478"/>
                <a:gd name="T43" fmla="*/ 10 h 347"/>
                <a:gd name="T44" fmla="*/ 6 w 478"/>
                <a:gd name="T45" fmla="*/ 3 h 347"/>
                <a:gd name="T46" fmla="*/ 14 w 478"/>
                <a:gd name="T47" fmla="*/ 9 h 347"/>
                <a:gd name="T48" fmla="*/ 5 w 478"/>
                <a:gd name="T49" fmla="*/ 1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8" h="347">
                  <a:moveTo>
                    <a:pt x="405" y="341"/>
                  </a:moveTo>
                  <a:cubicBezTo>
                    <a:pt x="400" y="339"/>
                    <a:pt x="394" y="339"/>
                    <a:pt x="392" y="340"/>
                  </a:cubicBezTo>
                  <a:cubicBezTo>
                    <a:pt x="390" y="341"/>
                    <a:pt x="389" y="337"/>
                    <a:pt x="389" y="330"/>
                  </a:cubicBezTo>
                  <a:cubicBezTo>
                    <a:pt x="389" y="323"/>
                    <a:pt x="384" y="306"/>
                    <a:pt x="379" y="290"/>
                  </a:cubicBezTo>
                  <a:cubicBezTo>
                    <a:pt x="367" y="258"/>
                    <a:pt x="366" y="244"/>
                    <a:pt x="375" y="237"/>
                  </a:cubicBezTo>
                  <a:cubicBezTo>
                    <a:pt x="379" y="234"/>
                    <a:pt x="389" y="225"/>
                    <a:pt x="397" y="216"/>
                  </a:cubicBezTo>
                  <a:cubicBezTo>
                    <a:pt x="417" y="198"/>
                    <a:pt x="422" y="201"/>
                    <a:pt x="417" y="226"/>
                  </a:cubicBezTo>
                  <a:cubicBezTo>
                    <a:pt x="413" y="247"/>
                    <a:pt x="417" y="254"/>
                    <a:pt x="430" y="254"/>
                  </a:cubicBezTo>
                  <a:cubicBezTo>
                    <a:pt x="436" y="254"/>
                    <a:pt x="435" y="257"/>
                    <a:pt x="423" y="280"/>
                  </a:cubicBezTo>
                  <a:cubicBezTo>
                    <a:pt x="408" y="309"/>
                    <a:pt x="405" y="327"/>
                    <a:pt x="415" y="331"/>
                  </a:cubicBezTo>
                  <a:cubicBezTo>
                    <a:pt x="418" y="332"/>
                    <a:pt x="421" y="336"/>
                    <a:pt x="421" y="339"/>
                  </a:cubicBezTo>
                  <a:cubicBezTo>
                    <a:pt x="421" y="346"/>
                    <a:pt x="418" y="347"/>
                    <a:pt x="405" y="341"/>
                  </a:cubicBezTo>
                  <a:close/>
                  <a:moveTo>
                    <a:pt x="456" y="333"/>
                  </a:moveTo>
                  <a:cubicBezTo>
                    <a:pt x="456" y="332"/>
                    <a:pt x="455" y="325"/>
                    <a:pt x="455" y="316"/>
                  </a:cubicBezTo>
                  <a:cubicBezTo>
                    <a:pt x="454" y="302"/>
                    <a:pt x="460" y="294"/>
                    <a:pt x="472" y="294"/>
                  </a:cubicBezTo>
                  <a:cubicBezTo>
                    <a:pt x="478" y="294"/>
                    <a:pt x="473" y="326"/>
                    <a:pt x="467" y="330"/>
                  </a:cubicBezTo>
                  <a:cubicBezTo>
                    <a:pt x="463" y="333"/>
                    <a:pt x="457" y="334"/>
                    <a:pt x="456" y="333"/>
                  </a:cubicBezTo>
                  <a:close/>
                  <a:moveTo>
                    <a:pt x="426" y="318"/>
                  </a:moveTo>
                  <a:cubicBezTo>
                    <a:pt x="422" y="316"/>
                    <a:pt x="423" y="313"/>
                    <a:pt x="427" y="308"/>
                  </a:cubicBezTo>
                  <a:cubicBezTo>
                    <a:pt x="434" y="298"/>
                    <a:pt x="439" y="302"/>
                    <a:pt x="434" y="313"/>
                  </a:cubicBezTo>
                  <a:cubicBezTo>
                    <a:pt x="432" y="318"/>
                    <a:pt x="429" y="320"/>
                    <a:pt x="426" y="318"/>
                  </a:cubicBezTo>
                  <a:close/>
                  <a:moveTo>
                    <a:pt x="5" y="10"/>
                  </a:moveTo>
                  <a:cubicBezTo>
                    <a:pt x="0" y="6"/>
                    <a:pt x="0" y="6"/>
                    <a:pt x="6" y="3"/>
                  </a:cubicBezTo>
                  <a:cubicBezTo>
                    <a:pt x="14" y="0"/>
                    <a:pt x="20" y="4"/>
                    <a:pt x="14" y="9"/>
                  </a:cubicBezTo>
                  <a:cubicBezTo>
                    <a:pt x="12" y="12"/>
                    <a:pt x="8" y="12"/>
                    <a:pt x="5" y="10"/>
                  </a:cubicBezTo>
                  <a:close/>
                </a:path>
              </a:pathLst>
            </a:custGeom>
            <a:solidFill>
              <a:srgbClr val="C5C5C5"/>
            </a:solidFill>
            <a:ln w="33338" cap="flat">
              <a:solidFill>
                <a:srgbClr val="C5C5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60" name="Freeform 14"/>
            <p:cNvSpPr>
              <a:spLocks noEditPoints="1"/>
            </p:cNvSpPr>
            <p:nvPr userDrawn="1"/>
          </p:nvSpPr>
          <p:spPr bwMode="grayWhite">
            <a:xfrm>
              <a:off x="10228263" y="1909763"/>
              <a:ext cx="1160463" cy="1236663"/>
            </a:xfrm>
            <a:custGeom>
              <a:avLst/>
              <a:gdLst>
                <a:gd name="T0" fmla="*/ 294 w 424"/>
                <a:gd name="T1" fmla="*/ 432 h 446"/>
                <a:gd name="T2" fmla="*/ 266 w 424"/>
                <a:gd name="T3" fmla="*/ 393 h 446"/>
                <a:gd name="T4" fmla="*/ 316 w 424"/>
                <a:gd name="T5" fmla="*/ 381 h 446"/>
                <a:gd name="T6" fmla="*/ 327 w 424"/>
                <a:gd name="T7" fmla="*/ 398 h 446"/>
                <a:gd name="T8" fmla="*/ 333 w 424"/>
                <a:gd name="T9" fmla="*/ 438 h 446"/>
                <a:gd name="T10" fmla="*/ 346 w 424"/>
                <a:gd name="T11" fmla="*/ 366 h 446"/>
                <a:gd name="T12" fmla="*/ 355 w 424"/>
                <a:gd name="T13" fmla="*/ 335 h 446"/>
                <a:gd name="T14" fmla="*/ 319 w 424"/>
                <a:gd name="T15" fmla="*/ 291 h 446"/>
                <a:gd name="T16" fmla="*/ 285 w 424"/>
                <a:gd name="T17" fmla="*/ 270 h 446"/>
                <a:gd name="T18" fmla="*/ 250 w 424"/>
                <a:gd name="T19" fmla="*/ 251 h 446"/>
                <a:gd name="T20" fmla="*/ 233 w 424"/>
                <a:gd name="T21" fmla="*/ 246 h 446"/>
                <a:gd name="T22" fmla="*/ 168 w 424"/>
                <a:gd name="T23" fmla="*/ 212 h 446"/>
                <a:gd name="T24" fmla="*/ 104 w 424"/>
                <a:gd name="T25" fmla="*/ 142 h 446"/>
                <a:gd name="T26" fmla="*/ 71 w 424"/>
                <a:gd name="T27" fmla="*/ 128 h 446"/>
                <a:gd name="T28" fmla="*/ 33 w 424"/>
                <a:gd name="T29" fmla="*/ 156 h 446"/>
                <a:gd name="T30" fmla="*/ 7 w 424"/>
                <a:gd name="T31" fmla="*/ 128 h 446"/>
                <a:gd name="T32" fmla="*/ 5 w 424"/>
                <a:gd name="T33" fmla="*/ 100 h 446"/>
                <a:gd name="T34" fmla="*/ 15 w 424"/>
                <a:gd name="T35" fmla="*/ 66 h 446"/>
                <a:gd name="T36" fmla="*/ 47 w 424"/>
                <a:gd name="T37" fmla="*/ 43 h 446"/>
                <a:gd name="T38" fmla="*/ 76 w 424"/>
                <a:gd name="T39" fmla="*/ 60 h 446"/>
                <a:gd name="T40" fmla="*/ 87 w 424"/>
                <a:gd name="T41" fmla="*/ 42 h 446"/>
                <a:gd name="T42" fmla="*/ 110 w 424"/>
                <a:gd name="T43" fmla="*/ 41 h 446"/>
                <a:gd name="T44" fmla="*/ 118 w 424"/>
                <a:gd name="T45" fmla="*/ 16 h 446"/>
                <a:gd name="T46" fmla="*/ 140 w 424"/>
                <a:gd name="T47" fmla="*/ 8 h 446"/>
                <a:gd name="T48" fmla="*/ 195 w 424"/>
                <a:gd name="T49" fmla="*/ 12 h 446"/>
                <a:gd name="T50" fmla="*/ 208 w 424"/>
                <a:gd name="T51" fmla="*/ 43 h 446"/>
                <a:gd name="T52" fmla="*/ 177 w 424"/>
                <a:gd name="T53" fmla="*/ 87 h 446"/>
                <a:gd name="T54" fmla="*/ 221 w 424"/>
                <a:gd name="T55" fmla="*/ 144 h 446"/>
                <a:gd name="T56" fmla="*/ 294 w 424"/>
                <a:gd name="T57" fmla="*/ 211 h 446"/>
                <a:gd name="T58" fmla="*/ 323 w 424"/>
                <a:gd name="T59" fmla="*/ 217 h 446"/>
                <a:gd name="T60" fmla="*/ 363 w 424"/>
                <a:gd name="T61" fmla="*/ 235 h 446"/>
                <a:gd name="T62" fmla="*/ 424 w 424"/>
                <a:gd name="T63" fmla="*/ 272 h 446"/>
                <a:gd name="T64" fmla="*/ 387 w 424"/>
                <a:gd name="T65" fmla="*/ 262 h 446"/>
                <a:gd name="T66" fmla="*/ 360 w 424"/>
                <a:gd name="T67" fmla="*/ 286 h 446"/>
                <a:gd name="T68" fmla="*/ 384 w 424"/>
                <a:gd name="T69" fmla="*/ 317 h 446"/>
                <a:gd name="T70" fmla="*/ 370 w 424"/>
                <a:gd name="T71" fmla="*/ 337 h 446"/>
                <a:gd name="T72" fmla="*/ 369 w 424"/>
                <a:gd name="T73" fmla="*/ 360 h 446"/>
                <a:gd name="T74" fmla="*/ 350 w 424"/>
                <a:gd name="T75" fmla="*/ 380 h 446"/>
                <a:gd name="T76" fmla="*/ 86 w 424"/>
                <a:gd name="T77" fmla="*/ 370 h 446"/>
                <a:gd name="T78" fmla="*/ 73 w 424"/>
                <a:gd name="T79" fmla="*/ 312 h 446"/>
                <a:gd name="T80" fmla="*/ 87 w 424"/>
                <a:gd name="T81" fmla="*/ 287 h 446"/>
                <a:gd name="T82" fmla="*/ 112 w 424"/>
                <a:gd name="T83" fmla="*/ 362 h 446"/>
                <a:gd name="T84" fmla="*/ 86 w 424"/>
                <a:gd name="T85" fmla="*/ 37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4" h="446">
                  <a:moveTo>
                    <a:pt x="314" y="440"/>
                  </a:moveTo>
                  <a:cubicBezTo>
                    <a:pt x="310" y="437"/>
                    <a:pt x="301" y="434"/>
                    <a:pt x="294" y="432"/>
                  </a:cubicBezTo>
                  <a:cubicBezTo>
                    <a:pt x="250" y="421"/>
                    <a:pt x="225" y="406"/>
                    <a:pt x="233" y="397"/>
                  </a:cubicBezTo>
                  <a:cubicBezTo>
                    <a:pt x="236" y="394"/>
                    <a:pt x="251" y="392"/>
                    <a:pt x="266" y="393"/>
                  </a:cubicBezTo>
                  <a:cubicBezTo>
                    <a:pt x="292" y="393"/>
                    <a:pt x="297" y="392"/>
                    <a:pt x="303" y="387"/>
                  </a:cubicBezTo>
                  <a:cubicBezTo>
                    <a:pt x="307" y="383"/>
                    <a:pt x="313" y="381"/>
                    <a:pt x="316" y="381"/>
                  </a:cubicBezTo>
                  <a:cubicBezTo>
                    <a:pt x="319" y="381"/>
                    <a:pt x="324" y="378"/>
                    <a:pt x="327" y="376"/>
                  </a:cubicBezTo>
                  <a:cubicBezTo>
                    <a:pt x="333" y="369"/>
                    <a:pt x="333" y="384"/>
                    <a:pt x="327" y="398"/>
                  </a:cubicBezTo>
                  <a:cubicBezTo>
                    <a:pt x="323" y="407"/>
                    <a:pt x="323" y="410"/>
                    <a:pt x="331" y="417"/>
                  </a:cubicBezTo>
                  <a:cubicBezTo>
                    <a:pt x="341" y="426"/>
                    <a:pt x="342" y="430"/>
                    <a:pt x="333" y="438"/>
                  </a:cubicBezTo>
                  <a:cubicBezTo>
                    <a:pt x="326" y="446"/>
                    <a:pt x="324" y="446"/>
                    <a:pt x="314" y="440"/>
                  </a:cubicBezTo>
                  <a:close/>
                  <a:moveTo>
                    <a:pt x="346" y="366"/>
                  </a:moveTo>
                  <a:cubicBezTo>
                    <a:pt x="347" y="357"/>
                    <a:pt x="351" y="348"/>
                    <a:pt x="355" y="345"/>
                  </a:cubicBezTo>
                  <a:cubicBezTo>
                    <a:pt x="361" y="341"/>
                    <a:pt x="361" y="340"/>
                    <a:pt x="355" y="335"/>
                  </a:cubicBezTo>
                  <a:cubicBezTo>
                    <a:pt x="352" y="333"/>
                    <a:pt x="344" y="321"/>
                    <a:pt x="338" y="310"/>
                  </a:cubicBezTo>
                  <a:cubicBezTo>
                    <a:pt x="329" y="295"/>
                    <a:pt x="324" y="290"/>
                    <a:pt x="319" y="291"/>
                  </a:cubicBezTo>
                  <a:cubicBezTo>
                    <a:pt x="314" y="293"/>
                    <a:pt x="308" y="289"/>
                    <a:pt x="300" y="280"/>
                  </a:cubicBezTo>
                  <a:cubicBezTo>
                    <a:pt x="294" y="273"/>
                    <a:pt x="287" y="269"/>
                    <a:pt x="285" y="270"/>
                  </a:cubicBezTo>
                  <a:cubicBezTo>
                    <a:pt x="283" y="271"/>
                    <a:pt x="275" y="267"/>
                    <a:pt x="267" y="260"/>
                  </a:cubicBezTo>
                  <a:cubicBezTo>
                    <a:pt x="259" y="254"/>
                    <a:pt x="251" y="250"/>
                    <a:pt x="250" y="251"/>
                  </a:cubicBezTo>
                  <a:cubicBezTo>
                    <a:pt x="249" y="253"/>
                    <a:pt x="245" y="251"/>
                    <a:pt x="242" y="249"/>
                  </a:cubicBezTo>
                  <a:cubicBezTo>
                    <a:pt x="238" y="246"/>
                    <a:pt x="234" y="244"/>
                    <a:pt x="233" y="246"/>
                  </a:cubicBezTo>
                  <a:cubicBezTo>
                    <a:pt x="232" y="247"/>
                    <a:pt x="220" y="241"/>
                    <a:pt x="206" y="233"/>
                  </a:cubicBezTo>
                  <a:cubicBezTo>
                    <a:pt x="193" y="226"/>
                    <a:pt x="175" y="216"/>
                    <a:pt x="168" y="212"/>
                  </a:cubicBezTo>
                  <a:cubicBezTo>
                    <a:pt x="150" y="203"/>
                    <a:pt x="128" y="179"/>
                    <a:pt x="121" y="162"/>
                  </a:cubicBezTo>
                  <a:cubicBezTo>
                    <a:pt x="116" y="151"/>
                    <a:pt x="104" y="136"/>
                    <a:pt x="104" y="142"/>
                  </a:cubicBezTo>
                  <a:cubicBezTo>
                    <a:pt x="104" y="144"/>
                    <a:pt x="96" y="141"/>
                    <a:pt x="87" y="136"/>
                  </a:cubicBezTo>
                  <a:cubicBezTo>
                    <a:pt x="71" y="128"/>
                    <a:pt x="71" y="128"/>
                    <a:pt x="71" y="128"/>
                  </a:cubicBezTo>
                  <a:cubicBezTo>
                    <a:pt x="54" y="146"/>
                    <a:pt x="54" y="146"/>
                    <a:pt x="54" y="146"/>
                  </a:cubicBezTo>
                  <a:cubicBezTo>
                    <a:pt x="35" y="166"/>
                    <a:pt x="29" y="169"/>
                    <a:pt x="33" y="156"/>
                  </a:cubicBezTo>
                  <a:cubicBezTo>
                    <a:pt x="34" y="150"/>
                    <a:pt x="32" y="147"/>
                    <a:pt x="21" y="143"/>
                  </a:cubicBezTo>
                  <a:cubicBezTo>
                    <a:pt x="11" y="138"/>
                    <a:pt x="7" y="134"/>
                    <a:pt x="7" y="128"/>
                  </a:cubicBezTo>
                  <a:cubicBezTo>
                    <a:pt x="7" y="123"/>
                    <a:pt x="6" y="116"/>
                    <a:pt x="4" y="113"/>
                  </a:cubicBezTo>
                  <a:cubicBezTo>
                    <a:pt x="2" y="109"/>
                    <a:pt x="2" y="104"/>
                    <a:pt x="5" y="100"/>
                  </a:cubicBezTo>
                  <a:cubicBezTo>
                    <a:pt x="8" y="95"/>
                    <a:pt x="8" y="90"/>
                    <a:pt x="4" y="83"/>
                  </a:cubicBezTo>
                  <a:cubicBezTo>
                    <a:pt x="0" y="73"/>
                    <a:pt x="0" y="72"/>
                    <a:pt x="15" y="66"/>
                  </a:cubicBezTo>
                  <a:cubicBezTo>
                    <a:pt x="23" y="63"/>
                    <a:pt x="33" y="56"/>
                    <a:pt x="38" y="52"/>
                  </a:cubicBezTo>
                  <a:cubicBezTo>
                    <a:pt x="47" y="43"/>
                    <a:pt x="47" y="43"/>
                    <a:pt x="47" y="43"/>
                  </a:cubicBezTo>
                  <a:cubicBezTo>
                    <a:pt x="61" y="52"/>
                    <a:pt x="61" y="52"/>
                    <a:pt x="61" y="52"/>
                  </a:cubicBezTo>
                  <a:cubicBezTo>
                    <a:pt x="76" y="60"/>
                    <a:pt x="76" y="60"/>
                    <a:pt x="76" y="60"/>
                  </a:cubicBezTo>
                  <a:cubicBezTo>
                    <a:pt x="76" y="51"/>
                    <a:pt x="76" y="51"/>
                    <a:pt x="76" y="51"/>
                  </a:cubicBezTo>
                  <a:cubicBezTo>
                    <a:pt x="76" y="43"/>
                    <a:pt x="77" y="42"/>
                    <a:pt x="87" y="42"/>
                  </a:cubicBezTo>
                  <a:cubicBezTo>
                    <a:pt x="94" y="42"/>
                    <a:pt x="100" y="44"/>
                    <a:pt x="102" y="46"/>
                  </a:cubicBezTo>
                  <a:cubicBezTo>
                    <a:pt x="108" y="51"/>
                    <a:pt x="112" y="48"/>
                    <a:pt x="110" y="41"/>
                  </a:cubicBezTo>
                  <a:cubicBezTo>
                    <a:pt x="109" y="36"/>
                    <a:pt x="111" y="31"/>
                    <a:pt x="114" y="28"/>
                  </a:cubicBezTo>
                  <a:cubicBezTo>
                    <a:pt x="117" y="25"/>
                    <a:pt x="119" y="20"/>
                    <a:pt x="118" y="16"/>
                  </a:cubicBezTo>
                  <a:cubicBezTo>
                    <a:pt x="117" y="10"/>
                    <a:pt x="118" y="9"/>
                    <a:pt x="124" y="11"/>
                  </a:cubicBezTo>
                  <a:cubicBezTo>
                    <a:pt x="128" y="12"/>
                    <a:pt x="135" y="11"/>
                    <a:pt x="140" y="8"/>
                  </a:cubicBezTo>
                  <a:cubicBezTo>
                    <a:pt x="154" y="1"/>
                    <a:pt x="175" y="0"/>
                    <a:pt x="177" y="7"/>
                  </a:cubicBezTo>
                  <a:cubicBezTo>
                    <a:pt x="179" y="12"/>
                    <a:pt x="184" y="13"/>
                    <a:pt x="195" y="12"/>
                  </a:cubicBezTo>
                  <a:cubicBezTo>
                    <a:pt x="209" y="10"/>
                    <a:pt x="210" y="10"/>
                    <a:pt x="209" y="24"/>
                  </a:cubicBezTo>
                  <a:cubicBezTo>
                    <a:pt x="209" y="32"/>
                    <a:pt x="209" y="41"/>
                    <a:pt x="208" y="43"/>
                  </a:cubicBezTo>
                  <a:cubicBezTo>
                    <a:pt x="208" y="48"/>
                    <a:pt x="185" y="62"/>
                    <a:pt x="178" y="62"/>
                  </a:cubicBezTo>
                  <a:cubicBezTo>
                    <a:pt x="170" y="63"/>
                    <a:pt x="170" y="84"/>
                    <a:pt x="177" y="87"/>
                  </a:cubicBezTo>
                  <a:cubicBezTo>
                    <a:pt x="182" y="89"/>
                    <a:pt x="183" y="91"/>
                    <a:pt x="179" y="95"/>
                  </a:cubicBezTo>
                  <a:cubicBezTo>
                    <a:pt x="170" y="106"/>
                    <a:pt x="194" y="134"/>
                    <a:pt x="221" y="144"/>
                  </a:cubicBezTo>
                  <a:cubicBezTo>
                    <a:pt x="226" y="146"/>
                    <a:pt x="235" y="156"/>
                    <a:pt x="240" y="165"/>
                  </a:cubicBezTo>
                  <a:cubicBezTo>
                    <a:pt x="250" y="183"/>
                    <a:pt x="278" y="207"/>
                    <a:pt x="294" y="211"/>
                  </a:cubicBezTo>
                  <a:cubicBezTo>
                    <a:pt x="299" y="212"/>
                    <a:pt x="309" y="211"/>
                    <a:pt x="315" y="207"/>
                  </a:cubicBezTo>
                  <a:cubicBezTo>
                    <a:pt x="328" y="201"/>
                    <a:pt x="330" y="204"/>
                    <a:pt x="323" y="217"/>
                  </a:cubicBezTo>
                  <a:cubicBezTo>
                    <a:pt x="320" y="223"/>
                    <a:pt x="321" y="225"/>
                    <a:pt x="327" y="225"/>
                  </a:cubicBezTo>
                  <a:cubicBezTo>
                    <a:pt x="331" y="225"/>
                    <a:pt x="348" y="229"/>
                    <a:pt x="363" y="235"/>
                  </a:cubicBezTo>
                  <a:cubicBezTo>
                    <a:pt x="378" y="240"/>
                    <a:pt x="393" y="245"/>
                    <a:pt x="397" y="245"/>
                  </a:cubicBezTo>
                  <a:cubicBezTo>
                    <a:pt x="406" y="245"/>
                    <a:pt x="424" y="262"/>
                    <a:pt x="424" y="272"/>
                  </a:cubicBezTo>
                  <a:cubicBezTo>
                    <a:pt x="424" y="282"/>
                    <a:pt x="418" y="283"/>
                    <a:pt x="409" y="274"/>
                  </a:cubicBezTo>
                  <a:cubicBezTo>
                    <a:pt x="405" y="270"/>
                    <a:pt x="395" y="264"/>
                    <a:pt x="387" y="262"/>
                  </a:cubicBezTo>
                  <a:cubicBezTo>
                    <a:pt x="374" y="258"/>
                    <a:pt x="371" y="258"/>
                    <a:pt x="366" y="264"/>
                  </a:cubicBezTo>
                  <a:cubicBezTo>
                    <a:pt x="362" y="268"/>
                    <a:pt x="360" y="278"/>
                    <a:pt x="360" y="286"/>
                  </a:cubicBezTo>
                  <a:cubicBezTo>
                    <a:pt x="360" y="298"/>
                    <a:pt x="361" y="301"/>
                    <a:pt x="369" y="304"/>
                  </a:cubicBezTo>
                  <a:cubicBezTo>
                    <a:pt x="375" y="306"/>
                    <a:pt x="381" y="312"/>
                    <a:pt x="384" y="317"/>
                  </a:cubicBezTo>
                  <a:cubicBezTo>
                    <a:pt x="388" y="324"/>
                    <a:pt x="387" y="327"/>
                    <a:pt x="381" y="331"/>
                  </a:cubicBezTo>
                  <a:cubicBezTo>
                    <a:pt x="377" y="334"/>
                    <a:pt x="372" y="337"/>
                    <a:pt x="370" y="337"/>
                  </a:cubicBezTo>
                  <a:cubicBezTo>
                    <a:pt x="368" y="337"/>
                    <a:pt x="368" y="341"/>
                    <a:pt x="369" y="347"/>
                  </a:cubicBezTo>
                  <a:cubicBezTo>
                    <a:pt x="371" y="353"/>
                    <a:pt x="371" y="359"/>
                    <a:pt x="369" y="360"/>
                  </a:cubicBezTo>
                  <a:cubicBezTo>
                    <a:pt x="367" y="361"/>
                    <a:pt x="364" y="366"/>
                    <a:pt x="361" y="371"/>
                  </a:cubicBezTo>
                  <a:cubicBezTo>
                    <a:pt x="359" y="375"/>
                    <a:pt x="354" y="379"/>
                    <a:pt x="350" y="380"/>
                  </a:cubicBezTo>
                  <a:cubicBezTo>
                    <a:pt x="345" y="381"/>
                    <a:pt x="344" y="378"/>
                    <a:pt x="346" y="366"/>
                  </a:cubicBezTo>
                  <a:close/>
                  <a:moveTo>
                    <a:pt x="86" y="370"/>
                  </a:moveTo>
                  <a:cubicBezTo>
                    <a:pt x="85" y="366"/>
                    <a:pt x="83" y="354"/>
                    <a:pt x="81" y="343"/>
                  </a:cubicBezTo>
                  <a:cubicBezTo>
                    <a:pt x="80" y="332"/>
                    <a:pt x="76" y="318"/>
                    <a:pt x="73" y="312"/>
                  </a:cubicBezTo>
                  <a:cubicBezTo>
                    <a:pt x="66" y="298"/>
                    <a:pt x="66" y="297"/>
                    <a:pt x="73" y="297"/>
                  </a:cubicBezTo>
                  <a:cubicBezTo>
                    <a:pt x="76" y="297"/>
                    <a:pt x="82" y="292"/>
                    <a:pt x="87" y="287"/>
                  </a:cubicBezTo>
                  <a:cubicBezTo>
                    <a:pt x="105" y="263"/>
                    <a:pt x="120" y="283"/>
                    <a:pt x="120" y="332"/>
                  </a:cubicBezTo>
                  <a:cubicBezTo>
                    <a:pt x="120" y="361"/>
                    <a:pt x="119" y="364"/>
                    <a:pt x="112" y="362"/>
                  </a:cubicBezTo>
                  <a:cubicBezTo>
                    <a:pt x="107" y="360"/>
                    <a:pt x="103" y="363"/>
                    <a:pt x="100" y="368"/>
                  </a:cubicBezTo>
                  <a:cubicBezTo>
                    <a:pt x="94" y="378"/>
                    <a:pt x="89" y="379"/>
                    <a:pt x="86" y="370"/>
                  </a:cubicBezTo>
                  <a:close/>
                </a:path>
              </a:pathLst>
            </a:custGeom>
            <a:solidFill>
              <a:srgbClr val="C5C5C5"/>
            </a:solidFill>
            <a:ln w="33338" cap="flat">
              <a:solidFill>
                <a:srgbClr val="C5C5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61" name="Freeform 15"/>
            <p:cNvSpPr>
              <a:spLocks/>
            </p:cNvSpPr>
            <p:nvPr userDrawn="1"/>
          </p:nvSpPr>
          <p:spPr bwMode="grayWhite">
            <a:xfrm>
              <a:off x="9828213" y="1416050"/>
              <a:ext cx="290513" cy="236538"/>
            </a:xfrm>
            <a:custGeom>
              <a:avLst/>
              <a:gdLst>
                <a:gd name="T0" fmla="*/ 77 w 106"/>
                <a:gd name="T1" fmla="*/ 78 h 85"/>
                <a:gd name="T2" fmla="*/ 68 w 106"/>
                <a:gd name="T3" fmla="*/ 71 h 85"/>
                <a:gd name="T4" fmla="*/ 60 w 106"/>
                <a:gd name="T5" fmla="*/ 68 h 85"/>
                <a:gd name="T6" fmla="*/ 2 w 106"/>
                <a:gd name="T7" fmla="*/ 28 h 85"/>
                <a:gd name="T8" fmla="*/ 20 w 106"/>
                <a:gd name="T9" fmla="*/ 12 h 85"/>
                <a:gd name="T10" fmla="*/ 49 w 106"/>
                <a:gd name="T11" fmla="*/ 10 h 85"/>
                <a:gd name="T12" fmla="*/ 88 w 106"/>
                <a:gd name="T13" fmla="*/ 18 h 85"/>
                <a:gd name="T14" fmla="*/ 99 w 106"/>
                <a:gd name="T15" fmla="*/ 33 h 85"/>
                <a:gd name="T16" fmla="*/ 98 w 106"/>
                <a:gd name="T17" fmla="*/ 57 h 85"/>
                <a:gd name="T18" fmla="*/ 92 w 106"/>
                <a:gd name="T19" fmla="*/ 76 h 85"/>
                <a:gd name="T20" fmla="*/ 77 w 106"/>
                <a:gd name="T21" fmla="*/ 7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6" h="85">
                  <a:moveTo>
                    <a:pt x="77" y="78"/>
                  </a:moveTo>
                  <a:cubicBezTo>
                    <a:pt x="72" y="76"/>
                    <a:pt x="68" y="72"/>
                    <a:pt x="68" y="71"/>
                  </a:cubicBezTo>
                  <a:cubicBezTo>
                    <a:pt x="68" y="69"/>
                    <a:pt x="65" y="68"/>
                    <a:pt x="60" y="68"/>
                  </a:cubicBezTo>
                  <a:cubicBezTo>
                    <a:pt x="51" y="68"/>
                    <a:pt x="6" y="37"/>
                    <a:pt x="2" y="28"/>
                  </a:cubicBezTo>
                  <a:cubicBezTo>
                    <a:pt x="0" y="22"/>
                    <a:pt x="17" y="6"/>
                    <a:pt x="20" y="12"/>
                  </a:cubicBezTo>
                  <a:cubicBezTo>
                    <a:pt x="24" y="18"/>
                    <a:pt x="38" y="17"/>
                    <a:pt x="49" y="10"/>
                  </a:cubicBezTo>
                  <a:cubicBezTo>
                    <a:pt x="64" y="0"/>
                    <a:pt x="81" y="3"/>
                    <a:pt x="88" y="18"/>
                  </a:cubicBezTo>
                  <a:cubicBezTo>
                    <a:pt x="91" y="24"/>
                    <a:pt x="96" y="31"/>
                    <a:pt x="99" y="33"/>
                  </a:cubicBezTo>
                  <a:cubicBezTo>
                    <a:pt x="106" y="37"/>
                    <a:pt x="106" y="43"/>
                    <a:pt x="98" y="57"/>
                  </a:cubicBezTo>
                  <a:cubicBezTo>
                    <a:pt x="95" y="63"/>
                    <a:pt x="92" y="72"/>
                    <a:pt x="92" y="76"/>
                  </a:cubicBezTo>
                  <a:cubicBezTo>
                    <a:pt x="92" y="84"/>
                    <a:pt x="91" y="85"/>
                    <a:pt x="77" y="78"/>
                  </a:cubicBezTo>
                  <a:close/>
                </a:path>
              </a:pathLst>
            </a:custGeom>
            <a:solidFill>
              <a:srgbClr val="C5C5C5"/>
            </a:solidFill>
            <a:ln w="33338" cap="flat">
              <a:solidFill>
                <a:srgbClr val="C5C5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62" name="Freeform 16"/>
            <p:cNvSpPr>
              <a:spLocks/>
            </p:cNvSpPr>
            <p:nvPr userDrawn="1"/>
          </p:nvSpPr>
          <p:spPr bwMode="grayWhite">
            <a:xfrm>
              <a:off x="9899650" y="1169988"/>
              <a:ext cx="271463" cy="309563"/>
            </a:xfrm>
            <a:custGeom>
              <a:avLst/>
              <a:gdLst>
                <a:gd name="T0" fmla="*/ 68 w 99"/>
                <a:gd name="T1" fmla="*/ 109 h 112"/>
                <a:gd name="T2" fmla="*/ 23 w 99"/>
                <a:gd name="T3" fmla="*/ 97 h 112"/>
                <a:gd name="T4" fmla="*/ 5 w 99"/>
                <a:gd name="T5" fmla="*/ 101 h 112"/>
                <a:gd name="T6" fmla="*/ 3 w 99"/>
                <a:gd name="T7" fmla="*/ 98 h 112"/>
                <a:gd name="T8" fmla="*/ 17 w 99"/>
                <a:gd name="T9" fmla="*/ 91 h 112"/>
                <a:gd name="T10" fmla="*/ 23 w 99"/>
                <a:gd name="T11" fmla="*/ 78 h 112"/>
                <a:gd name="T12" fmla="*/ 65 w 99"/>
                <a:gd name="T13" fmla="*/ 8 h 112"/>
                <a:gd name="T14" fmla="*/ 79 w 99"/>
                <a:gd name="T15" fmla="*/ 4 h 112"/>
                <a:gd name="T16" fmla="*/ 95 w 99"/>
                <a:gd name="T17" fmla="*/ 14 h 112"/>
                <a:gd name="T18" fmla="*/ 90 w 99"/>
                <a:gd name="T19" fmla="*/ 32 h 112"/>
                <a:gd name="T20" fmla="*/ 90 w 99"/>
                <a:gd name="T21" fmla="*/ 44 h 112"/>
                <a:gd name="T22" fmla="*/ 83 w 99"/>
                <a:gd name="T23" fmla="*/ 65 h 112"/>
                <a:gd name="T24" fmla="*/ 73 w 99"/>
                <a:gd name="T25" fmla="*/ 81 h 112"/>
                <a:gd name="T26" fmla="*/ 71 w 99"/>
                <a:gd name="T27" fmla="*/ 102 h 112"/>
                <a:gd name="T28" fmla="*/ 68 w 99"/>
                <a:gd name="T29" fmla="*/ 109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 h="112">
                  <a:moveTo>
                    <a:pt x="68" y="109"/>
                  </a:moveTo>
                  <a:cubicBezTo>
                    <a:pt x="67" y="91"/>
                    <a:pt x="40" y="84"/>
                    <a:pt x="23" y="97"/>
                  </a:cubicBezTo>
                  <a:cubicBezTo>
                    <a:pt x="16" y="102"/>
                    <a:pt x="11" y="103"/>
                    <a:pt x="5" y="101"/>
                  </a:cubicBezTo>
                  <a:cubicBezTo>
                    <a:pt x="1" y="99"/>
                    <a:pt x="0" y="98"/>
                    <a:pt x="3" y="98"/>
                  </a:cubicBezTo>
                  <a:cubicBezTo>
                    <a:pt x="5" y="97"/>
                    <a:pt x="12" y="95"/>
                    <a:pt x="17" y="91"/>
                  </a:cubicBezTo>
                  <a:cubicBezTo>
                    <a:pt x="25" y="86"/>
                    <a:pt x="26" y="83"/>
                    <a:pt x="23" y="78"/>
                  </a:cubicBezTo>
                  <a:cubicBezTo>
                    <a:pt x="14" y="63"/>
                    <a:pt x="45" y="11"/>
                    <a:pt x="65" y="8"/>
                  </a:cubicBezTo>
                  <a:cubicBezTo>
                    <a:pt x="71" y="7"/>
                    <a:pt x="77" y="5"/>
                    <a:pt x="79" y="4"/>
                  </a:cubicBezTo>
                  <a:cubicBezTo>
                    <a:pt x="85" y="0"/>
                    <a:pt x="95" y="6"/>
                    <a:pt x="95" y="14"/>
                  </a:cubicBezTo>
                  <a:cubicBezTo>
                    <a:pt x="95" y="18"/>
                    <a:pt x="93" y="26"/>
                    <a:pt x="90" y="32"/>
                  </a:cubicBezTo>
                  <a:cubicBezTo>
                    <a:pt x="87" y="41"/>
                    <a:pt x="87" y="43"/>
                    <a:pt x="90" y="44"/>
                  </a:cubicBezTo>
                  <a:cubicBezTo>
                    <a:pt x="99" y="47"/>
                    <a:pt x="96" y="55"/>
                    <a:pt x="83" y="65"/>
                  </a:cubicBezTo>
                  <a:cubicBezTo>
                    <a:pt x="75" y="71"/>
                    <a:pt x="71" y="77"/>
                    <a:pt x="73" y="81"/>
                  </a:cubicBezTo>
                  <a:cubicBezTo>
                    <a:pt x="74" y="86"/>
                    <a:pt x="73" y="95"/>
                    <a:pt x="71" y="102"/>
                  </a:cubicBezTo>
                  <a:cubicBezTo>
                    <a:pt x="70" y="109"/>
                    <a:pt x="68" y="112"/>
                    <a:pt x="68" y="109"/>
                  </a:cubicBezTo>
                  <a:close/>
                </a:path>
              </a:pathLst>
            </a:custGeom>
            <a:solidFill>
              <a:srgbClr val="C5C5C5"/>
            </a:solidFill>
            <a:ln w="33338" cap="flat">
              <a:solidFill>
                <a:srgbClr val="C5C5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63" name="Freeform 17"/>
            <p:cNvSpPr>
              <a:spLocks/>
            </p:cNvSpPr>
            <p:nvPr userDrawn="1"/>
          </p:nvSpPr>
          <p:spPr bwMode="grayWhite">
            <a:xfrm>
              <a:off x="10091738" y="1593850"/>
              <a:ext cx="42863" cy="55563"/>
            </a:xfrm>
            <a:custGeom>
              <a:avLst/>
              <a:gdLst>
                <a:gd name="T0" fmla="*/ 0 w 16"/>
                <a:gd name="T1" fmla="*/ 10 h 20"/>
                <a:gd name="T2" fmla="*/ 8 w 16"/>
                <a:gd name="T3" fmla="*/ 5 h 20"/>
                <a:gd name="T4" fmla="*/ 6 w 16"/>
                <a:gd name="T5" fmla="*/ 20 h 20"/>
                <a:gd name="T6" fmla="*/ 0 w 16"/>
                <a:gd name="T7" fmla="*/ 10 h 20"/>
              </a:gdLst>
              <a:ahLst/>
              <a:cxnLst>
                <a:cxn ang="0">
                  <a:pos x="T0" y="T1"/>
                </a:cxn>
                <a:cxn ang="0">
                  <a:pos x="T2" y="T3"/>
                </a:cxn>
                <a:cxn ang="0">
                  <a:pos x="T4" y="T5"/>
                </a:cxn>
                <a:cxn ang="0">
                  <a:pos x="T6" y="T7"/>
                </a:cxn>
              </a:cxnLst>
              <a:rect l="0" t="0" r="r" b="b"/>
              <a:pathLst>
                <a:path w="16" h="20">
                  <a:moveTo>
                    <a:pt x="0" y="10"/>
                  </a:moveTo>
                  <a:cubicBezTo>
                    <a:pt x="0" y="1"/>
                    <a:pt x="1" y="0"/>
                    <a:pt x="8" y="5"/>
                  </a:cubicBezTo>
                  <a:cubicBezTo>
                    <a:pt x="16" y="10"/>
                    <a:pt x="15" y="20"/>
                    <a:pt x="6" y="20"/>
                  </a:cubicBezTo>
                  <a:cubicBezTo>
                    <a:pt x="2" y="20"/>
                    <a:pt x="0" y="16"/>
                    <a:pt x="0" y="10"/>
                  </a:cubicBezTo>
                  <a:close/>
                </a:path>
              </a:pathLst>
            </a:custGeom>
            <a:solidFill>
              <a:srgbClr val="C5C5C5"/>
            </a:solidFill>
            <a:ln w="33338" cap="flat">
              <a:solidFill>
                <a:srgbClr val="C5C5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64" name="Freeform 18"/>
            <p:cNvSpPr>
              <a:spLocks/>
            </p:cNvSpPr>
            <p:nvPr userDrawn="1"/>
          </p:nvSpPr>
          <p:spPr bwMode="grayWhite">
            <a:xfrm>
              <a:off x="10129838" y="1873250"/>
              <a:ext cx="423863" cy="222250"/>
            </a:xfrm>
            <a:custGeom>
              <a:avLst/>
              <a:gdLst>
                <a:gd name="T0" fmla="*/ 42 w 155"/>
                <a:gd name="T1" fmla="*/ 72 h 80"/>
                <a:gd name="T2" fmla="*/ 16 w 155"/>
                <a:gd name="T3" fmla="*/ 65 h 80"/>
                <a:gd name="T4" fmla="*/ 10 w 155"/>
                <a:gd name="T5" fmla="*/ 57 h 80"/>
                <a:gd name="T6" fmla="*/ 18 w 155"/>
                <a:gd name="T7" fmla="*/ 41 h 80"/>
                <a:gd name="T8" fmla="*/ 55 w 155"/>
                <a:gd name="T9" fmla="*/ 8 h 80"/>
                <a:gd name="T10" fmla="*/ 82 w 155"/>
                <a:gd name="T11" fmla="*/ 5 h 80"/>
                <a:gd name="T12" fmla="*/ 110 w 155"/>
                <a:gd name="T13" fmla="*/ 7 h 80"/>
                <a:gd name="T14" fmla="*/ 118 w 155"/>
                <a:gd name="T15" fmla="*/ 17 h 80"/>
                <a:gd name="T16" fmla="*/ 134 w 155"/>
                <a:gd name="T17" fmla="*/ 24 h 80"/>
                <a:gd name="T18" fmla="*/ 145 w 155"/>
                <a:gd name="T19" fmla="*/ 42 h 80"/>
                <a:gd name="T20" fmla="*/ 141 w 155"/>
                <a:gd name="T21" fmla="*/ 54 h 80"/>
                <a:gd name="T22" fmla="*/ 138 w 155"/>
                <a:gd name="T23" fmla="*/ 55 h 80"/>
                <a:gd name="T24" fmla="*/ 125 w 155"/>
                <a:gd name="T25" fmla="*/ 53 h 80"/>
                <a:gd name="T26" fmla="*/ 118 w 155"/>
                <a:gd name="T27" fmla="*/ 50 h 80"/>
                <a:gd name="T28" fmla="*/ 112 w 155"/>
                <a:gd name="T29" fmla="*/ 50 h 80"/>
                <a:gd name="T30" fmla="*/ 106 w 155"/>
                <a:gd name="T31" fmla="*/ 61 h 80"/>
                <a:gd name="T32" fmla="*/ 96 w 155"/>
                <a:gd name="T33" fmla="*/ 61 h 80"/>
                <a:gd name="T34" fmla="*/ 86 w 155"/>
                <a:gd name="T35" fmla="*/ 53 h 80"/>
                <a:gd name="T36" fmla="*/ 75 w 155"/>
                <a:gd name="T37" fmla="*/ 59 h 80"/>
                <a:gd name="T38" fmla="*/ 42 w 155"/>
                <a:gd name="T39" fmla="*/ 7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5" h="80">
                  <a:moveTo>
                    <a:pt x="42" y="72"/>
                  </a:moveTo>
                  <a:cubicBezTo>
                    <a:pt x="42" y="62"/>
                    <a:pt x="28" y="57"/>
                    <a:pt x="16" y="65"/>
                  </a:cubicBezTo>
                  <a:cubicBezTo>
                    <a:pt x="3" y="73"/>
                    <a:pt x="0" y="70"/>
                    <a:pt x="10" y="57"/>
                  </a:cubicBezTo>
                  <a:cubicBezTo>
                    <a:pt x="15" y="52"/>
                    <a:pt x="18" y="44"/>
                    <a:pt x="18" y="41"/>
                  </a:cubicBezTo>
                  <a:cubicBezTo>
                    <a:pt x="18" y="30"/>
                    <a:pt x="46" y="5"/>
                    <a:pt x="55" y="8"/>
                  </a:cubicBezTo>
                  <a:cubicBezTo>
                    <a:pt x="59" y="9"/>
                    <a:pt x="72" y="7"/>
                    <a:pt x="82" y="5"/>
                  </a:cubicBezTo>
                  <a:cubicBezTo>
                    <a:pt x="99" y="0"/>
                    <a:pt x="102" y="0"/>
                    <a:pt x="110" y="7"/>
                  </a:cubicBezTo>
                  <a:cubicBezTo>
                    <a:pt x="115" y="10"/>
                    <a:pt x="118" y="15"/>
                    <a:pt x="118" y="17"/>
                  </a:cubicBezTo>
                  <a:cubicBezTo>
                    <a:pt x="118" y="19"/>
                    <a:pt x="126" y="22"/>
                    <a:pt x="134" y="24"/>
                  </a:cubicBezTo>
                  <a:cubicBezTo>
                    <a:pt x="151" y="26"/>
                    <a:pt x="155" y="33"/>
                    <a:pt x="145" y="42"/>
                  </a:cubicBezTo>
                  <a:cubicBezTo>
                    <a:pt x="141" y="45"/>
                    <a:pt x="140" y="50"/>
                    <a:pt x="141" y="54"/>
                  </a:cubicBezTo>
                  <a:cubicBezTo>
                    <a:pt x="144" y="59"/>
                    <a:pt x="143" y="59"/>
                    <a:pt x="138" y="55"/>
                  </a:cubicBezTo>
                  <a:cubicBezTo>
                    <a:pt x="134" y="52"/>
                    <a:pt x="129" y="51"/>
                    <a:pt x="125" y="53"/>
                  </a:cubicBezTo>
                  <a:cubicBezTo>
                    <a:pt x="121" y="54"/>
                    <a:pt x="118" y="53"/>
                    <a:pt x="118" y="50"/>
                  </a:cubicBezTo>
                  <a:cubicBezTo>
                    <a:pt x="118" y="46"/>
                    <a:pt x="117" y="46"/>
                    <a:pt x="112" y="50"/>
                  </a:cubicBezTo>
                  <a:cubicBezTo>
                    <a:pt x="109" y="53"/>
                    <a:pt x="106" y="58"/>
                    <a:pt x="106" y="61"/>
                  </a:cubicBezTo>
                  <a:cubicBezTo>
                    <a:pt x="106" y="65"/>
                    <a:pt x="104" y="65"/>
                    <a:pt x="96" y="61"/>
                  </a:cubicBezTo>
                  <a:cubicBezTo>
                    <a:pt x="91" y="59"/>
                    <a:pt x="86" y="55"/>
                    <a:pt x="86" y="53"/>
                  </a:cubicBezTo>
                  <a:cubicBezTo>
                    <a:pt x="86" y="51"/>
                    <a:pt x="81" y="53"/>
                    <a:pt x="75" y="59"/>
                  </a:cubicBezTo>
                  <a:cubicBezTo>
                    <a:pt x="61" y="73"/>
                    <a:pt x="42" y="80"/>
                    <a:pt x="42" y="72"/>
                  </a:cubicBezTo>
                  <a:close/>
                </a:path>
              </a:pathLst>
            </a:custGeom>
            <a:solidFill>
              <a:srgbClr val="C5C5C5"/>
            </a:solidFill>
            <a:ln w="33338" cap="flat">
              <a:solidFill>
                <a:srgbClr val="C5C5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65" name="Freeform 19"/>
            <p:cNvSpPr>
              <a:spLocks/>
            </p:cNvSpPr>
            <p:nvPr userDrawn="1"/>
          </p:nvSpPr>
          <p:spPr bwMode="grayWhite">
            <a:xfrm>
              <a:off x="10477500" y="1630363"/>
              <a:ext cx="585788" cy="304800"/>
            </a:xfrm>
            <a:custGeom>
              <a:avLst/>
              <a:gdLst>
                <a:gd name="T0" fmla="*/ 6 w 214"/>
                <a:gd name="T1" fmla="*/ 102 h 110"/>
                <a:gd name="T2" fmla="*/ 19 w 214"/>
                <a:gd name="T3" fmla="*/ 91 h 110"/>
                <a:gd name="T4" fmla="*/ 59 w 214"/>
                <a:gd name="T5" fmla="*/ 79 h 110"/>
                <a:gd name="T6" fmla="*/ 87 w 214"/>
                <a:gd name="T7" fmla="*/ 72 h 110"/>
                <a:gd name="T8" fmla="*/ 88 w 214"/>
                <a:gd name="T9" fmla="*/ 52 h 110"/>
                <a:gd name="T10" fmla="*/ 99 w 214"/>
                <a:gd name="T11" fmla="*/ 27 h 110"/>
                <a:gd name="T12" fmla="*/ 118 w 214"/>
                <a:gd name="T13" fmla="*/ 18 h 110"/>
                <a:gd name="T14" fmla="*/ 133 w 214"/>
                <a:gd name="T15" fmla="*/ 22 h 110"/>
                <a:gd name="T16" fmla="*/ 147 w 214"/>
                <a:gd name="T17" fmla="*/ 12 h 110"/>
                <a:gd name="T18" fmla="*/ 187 w 214"/>
                <a:gd name="T19" fmla="*/ 0 h 110"/>
                <a:gd name="T20" fmla="*/ 204 w 214"/>
                <a:gd name="T21" fmla="*/ 10 h 110"/>
                <a:gd name="T22" fmla="*/ 209 w 214"/>
                <a:gd name="T23" fmla="*/ 24 h 110"/>
                <a:gd name="T24" fmla="*/ 203 w 214"/>
                <a:gd name="T25" fmla="*/ 41 h 110"/>
                <a:gd name="T26" fmla="*/ 195 w 214"/>
                <a:gd name="T27" fmla="*/ 50 h 110"/>
                <a:gd name="T28" fmla="*/ 178 w 214"/>
                <a:gd name="T29" fmla="*/ 88 h 110"/>
                <a:gd name="T30" fmla="*/ 156 w 214"/>
                <a:gd name="T31" fmla="*/ 100 h 110"/>
                <a:gd name="T32" fmla="*/ 120 w 214"/>
                <a:gd name="T33" fmla="*/ 107 h 110"/>
                <a:gd name="T34" fmla="*/ 87 w 214"/>
                <a:gd name="T35" fmla="*/ 104 h 110"/>
                <a:gd name="T36" fmla="*/ 52 w 214"/>
                <a:gd name="T37" fmla="*/ 104 h 110"/>
                <a:gd name="T38" fmla="*/ 6 w 214"/>
                <a:gd name="T39" fmla="*/ 10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4" h="110">
                  <a:moveTo>
                    <a:pt x="6" y="102"/>
                  </a:moveTo>
                  <a:cubicBezTo>
                    <a:pt x="0" y="96"/>
                    <a:pt x="0" y="95"/>
                    <a:pt x="19" y="91"/>
                  </a:cubicBezTo>
                  <a:cubicBezTo>
                    <a:pt x="30" y="88"/>
                    <a:pt x="48" y="83"/>
                    <a:pt x="59" y="79"/>
                  </a:cubicBezTo>
                  <a:cubicBezTo>
                    <a:pt x="70" y="76"/>
                    <a:pt x="82" y="72"/>
                    <a:pt x="87" y="72"/>
                  </a:cubicBezTo>
                  <a:cubicBezTo>
                    <a:pt x="96" y="71"/>
                    <a:pt x="96" y="68"/>
                    <a:pt x="88" y="52"/>
                  </a:cubicBezTo>
                  <a:cubicBezTo>
                    <a:pt x="83" y="41"/>
                    <a:pt x="83" y="40"/>
                    <a:pt x="99" y="27"/>
                  </a:cubicBezTo>
                  <a:cubicBezTo>
                    <a:pt x="109" y="19"/>
                    <a:pt x="116" y="15"/>
                    <a:pt x="118" y="18"/>
                  </a:cubicBezTo>
                  <a:cubicBezTo>
                    <a:pt x="120" y="20"/>
                    <a:pt x="127" y="22"/>
                    <a:pt x="133" y="22"/>
                  </a:cubicBezTo>
                  <a:cubicBezTo>
                    <a:pt x="142" y="22"/>
                    <a:pt x="145" y="19"/>
                    <a:pt x="147" y="12"/>
                  </a:cubicBezTo>
                  <a:cubicBezTo>
                    <a:pt x="149" y="1"/>
                    <a:pt x="151" y="1"/>
                    <a:pt x="187" y="0"/>
                  </a:cubicBezTo>
                  <a:cubicBezTo>
                    <a:pt x="201" y="0"/>
                    <a:pt x="203" y="1"/>
                    <a:pt x="204" y="10"/>
                  </a:cubicBezTo>
                  <a:cubicBezTo>
                    <a:pt x="205" y="15"/>
                    <a:pt x="207" y="22"/>
                    <a:pt x="209" y="24"/>
                  </a:cubicBezTo>
                  <a:cubicBezTo>
                    <a:pt x="214" y="30"/>
                    <a:pt x="209" y="42"/>
                    <a:pt x="203" y="41"/>
                  </a:cubicBezTo>
                  <a:cubicBezTo>
                    <a:pt x="189" y="39"/>
                    <a:pt x="187" y="42"/>
                    <a:pt x="195" y="50"/>
                  </a:cubicBezTo>
                  <a:cubicBezTo>
                    <a:pt x="206" y="62"/>
                    <a:pt x="199" y="77"/>
                    <a:pt x="178" y="88"/>
                  </a:cubicBezTo>
                  <a:cubicBezTo>
                    <a:pt x="169" y="92"/>
                    <a:pt x="159" y="98"/>
                    <a:pt x="156" y="100"/>
                  </a:cubicBezTo>
                  <a:cubicBezTo>
                    <a:pt x="153" y="103"/>
                    <a:pt x="137" y="106"/>
                    <a:pt x="120" y="107"/>
                  </a:cubicBezTo>
                  <a:cubicBezTo>
                    <a:pt x="95" y="109"/>
                    <a:pt x="89" y="109"/>
                    <a:pt x="87" y="104"/>
                  </a:cubicBezTo>
                  <a:cubicBezTo>
                    <a:pt x="85" y="98"/>
                    <a:pt x="62" y="98"/>
                    <a:pt x="52" y="104"/>
                  </a:cubicBezTo>
                  <a:cubicBezTo>
                    <a:pt x="42" y="110"/>
                    <a:pt x="13" y="109"/>
                    <a:pt x="6" y="102"/>
                  </a:cubicBezTo>
                  <a:close/>
                </a:path>
              </a:pathLst>
            </a:custGeom>
            <a:solidFill>
              <a:srgbClr val="C5C5C5"/>
            </a:solidFill>
            <a:ln w="33338" cap="flat">
              <a:solidFill>
                <a:srgbClr val="C5C5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66" name="Freeform 20"/>
            <p:cNvSpPr>
              <a:spLocks noEditPoints="1"/>
            </p:cNvSpPr>
            <p:nvPr userDrawn="1"/>
          </p:nvSpPr>
          <p:spPr bwMode="grayWhite">
            <a:xfrm>
              <a:off x="11052175" y="76200"/>
              <a:ext cx="422275" cy="280988"/>
            </a:xfrm>
            <a:custGeom>
              <a:avLst/>
              <a:gdLst>
                <a:gd name="T0" fmla="*/ 3 w 154"/>
                <a:gd name="T1" fmla="*/ 92 h 101"/>
                <a:gd name="T2" fmla="*/ 6 w 154"/>
                <a:gd name="T3" fmla="*/ 84 h 101"/>
                <a:gd name="T4" fmla="*/ 16 w 154"/>
                <a:gd name="T5" fmla="*/ 82 h 101"/>
                <a:gd name="T6" fmla="*/ 22 w 154"/>
                <a:gd name="T7" fmla="*/ 90 h 101"/>
                <a:gd name="T8" fmla="*/ 3 w 154"/>
                <a:gd name="T9" fmla="*/ 92 h 101"/>
                <a:gd name="T10" fmla="*/ 64 w 154"/>
                <a:gd name="T11" fmla="*/ 95 h 101"/>
                <a:gd name="T12" fmla="*/ 62 w 154"/>
                <a:gd name="T13" fmla="*/ 83 h 101"/>
                <a:gd name="T14" fmla="*/ 51 w 154"/>
                <a:gd name="T15" fmla="*/ 78 h 101"/>
                <a:gd name="T16" fmla="*/ 33 w 154"/>
                <a:gd name="T17" fmla="*/ 62 h 101"/>
                <a:gd name="T18" fmla="*/ 40 w 154"/>
                <a:gd name="T19" fmla="*/ 34 h 101"/>
                <a:gd name="T20" fmla="*/ 91 w 154"/>
                <a:gd name="T21" fmla="*/ 8 h 101"/>
                <a:gd name="T22" fmla="*/ 108 w 154"/>
                <a:gd name="T23" fmla="*/ 5 h 101"/>
                <a:gd name="T24" fmla="*/ 126 w 154"/>
                <a:gd name="T25" fmla="*/ 3 h 101"/>
                <a:gd name="T26" fmla="*/ 138 w 154"/>
                <a:gd name="T27" fmla="*/ 32 h 101"/>
                <a:gd name="T28" fmla="*/ 144 w 154"/>
                <a:gd name="T29" fmla="*/ 57 h 101"/>
                <a:gd name="T30" fmla="*/ 154 w 154"/>
                <a:gd name="T31" fmla="*/ 74 h 101"/>
                <a:gd name="T32" fmla="*/ 138 w 154"/>
                <a:gd name="T33" fmla="*/ 84 h 101"/>
                <a:gd name="T34" fmla="*/ 104 w 154"/>
                <a:gd name="T35" fmla="*/ 88 h 101"/>
                <a:gd name="T36" fmla="*/ 77 w 154"/>
                <a:gd name="T37" fmla="*/ 92 h 101"/>
                <a:gd name="T38" fmla="*/ 64 w 154"/>
                <a:gd name="T39" fmla="*/ 95 h 101"/>
                <a:gd name="T40" fmla="*/ 4 w 154"/>
                <a:gd name="T41" fmla="*/ 66 h 101"/>
                <a:gd name="T42" fmla="*/ 12 w 154"/>
                <a:gd name="T43" fmla="*/ 65 h 101"/>
                <a:gd name="T44" fmla="*/ 10 w 154"/>
                <a:gd name="T45" fmla="*/ 70 h 101"/>
                <a:gd name="T46" fmla="*/ 4 w 154"/>
                <a:gd name="T47" fmla="*/ 66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4" h="101">
                  <a:moveTo>
                    <a:pt x="3" y="92"/>
                  </a:moveTo>
                  <a:cubicBezTo>
                    <a:pt x="5" y="88"/>
                    <a:pt x="6" y="85"/>
                    <a:pt x="6" y="84"/>
                  </a:cubicBezTo>
                  <a:cubicBezTo>
                    <a:pt x="6" y="83"/>
                    <a:pt x="10" y="82"/>
                    <a:pt x="16" y="82"/>
                  </a:cubicBezTo>
                  <a:cubicBezTo>
                    <a:pt x="25" y="82"/>
                    <a:pt x="26" y="83"/>
                    <a:pt x="22" y="90"/>
                  </a:cubicBezTo>
                  <a:cubicBezTo>
                    <a:pt x="17" y="100"/>
                    <a:pt x="0" y="101"/>
                    <a:pt x="3" y="92"/>
                  </a:cubicBezTo>
                  <a:close/>
                  <a:moveTo>
                    <a:pt x="64" y="95"/>
                  </a:moveTo>
                  <a:cubicBezTo>
                    <a:pt x="63" y="94"/>
                    <a:pt x="62" y="89"/>
                    <a:pt x="62" y="83"/>
                  </a:cubicBezTo>
                  <a:cubicBezTo>
                    <a:pt x="62" y="73"/>
                    <a:pt x="58" y="72"/>
                    <a:pt x="51" y="78"/>
                  </a:cubicBezTo>
                  <a:cubicBezTo>
                    <a:pt x="44" y="85"/>
                    <a:pt x="39" y="80"/>
                    <a:pt x="33" y="62"/>
                  </a:cubicBezTo>
                  <a:cubicBezTo>
                    <a:pt x="29" y="47"/>
                    <a:pt x="29" y="46"/>
                    <a:pt x="40" y="34"/>
                  </a:cubicBezTo>
                  <a:cubicBezTo>
                    <a:pt x="55" y="18"/>
                    <a:pt x="79" y="5"/>
                    <a:pt x="91" y="8"/>
                  </a:cubicBezTo>
                  <a:cubicBezTo>
                    <a:pt x="96" y="9"/>
                    <a:pt x="103" y="8"/>
                    <a:pt x="108" y="5"/>
                  </a:cubicBezTo>
                  <a:cubicBezTo>
                    <a:pt x="113" y="0"/>
                    <a:pt x="118" y="0"/>
                    <a:pt x="126" y="3"/>
                  </a:cubicBezTo>
                  <a:cubicBezTo>
                    <a:pt x="140" y="7"/>
                    <a:pt x="143" y="17"/>
                    <a:pt x="138" y="32"/>
                  </a:cubicBezTo>
                  <a:cubicBezTo>
                    <a:pt x="134" y="41"/>
                    <a:pt x="135" y="45"/>
                    <a:pt x="144" y="57"/>
                  </a:cubicBezTo>
                  <a:cubicBezTo>
                    <a:pt x="149" y="65"/>
                    <a:pt x="154" y="73"/>
                    <a:pt x="154" y="74"/>
                  </a:cubicBezTo>
                  <a:cubicBezTo>
                    <a:pt x="154" y="76"/>
                    <a:pt x="147" y="80"/>
                    <a:pt x="138" y="84"/>
                  </a:cubicBezTo>
                  <a:cubicBezTo>
                    <a:pt x="126" y="89"/>
                    <a:pt x="118" y="90"/>
                    <a:pt x="104" y="88"/>
                  </a:cubicBezTo>
                  <a:cubicBezTo>
                    <a:pt x="91" y="86"/>
                    <a:pt x="84" y="87"/>
                    <a:pt x="77" y="92"/>
                  </a:cubicBezTo>
                  <a:cubicBezTo>
                    <a:pt x="71" y="95"/>
                    <a:pt x="66" y="97"/>
                    <a:pt x="64" y="95"/>
                  </a:cubicBezTo>
                  <a:close/>
                  <a:moveTo>
                    <a:pt x="4" y="66"/>
                  </a:moveTo>
                  <a:cubicBezTo>
                    <a:pt x="5" y="64"/>
                    <a:pt x="9" y="63"/>
                    <a:pt x="12" y="65"/>
                  </a:cubicBezTo>
                  <a:cubicBezTo>
                    <a:pt x="20" y="68"/>
                    <a:pt x="19" y="70"/>
                    <a:pt x="10" y="70"/>
                  </a:cubicBezTo>
                  <a:cubicBezTo>
                    <a:pt x="5" y="70"/>
                    <a:pt x="2" y="68"/>
                    <a:pt x="4" y="66"/>
                  </a:cubicBezTo>
                  <a:close/>
                </a:path>
              </a:pathLst>
            </a:custGeom>
            <a:solidFill>
              <a:srgbClr val="C5C5C5"/>
            </a:solidFill>
            <a:ln w="33338" cap="flat">
              <a:solidFill>
                <a:srgbClr val="C5C5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67" name="Freeform 21"/>
            <p:cNvSpPr>
              <a:spLocks/>
            </p:cNvSpPr>
            <p:nvPr userDrawn="1"/>
          </p:nvSpPr>
          <p:spPr bwMode="grayWhite">
            <a:xfrm>
              <a:off x="11058525" y="301625"/>
              <a:ext cx="514350" cy="315913"/>
            </a:xfrm>
            <a:custGeom>
              <a:avLst/>
              <a:gdLst>
                <a:gd name="T0" fmla="*/ 2 w 188"/>
                <a:gd name="T1" fmla="*/ 108 h 114"/>
                <a:gd name="T2" fmla="*/ 2 w 188"/>
                <a:gd name="T3" fmla="*/ 81 h 114"/>
                <a:gd name="T4" fmla="*/ 13 w 188"/>
                <a:gd name="T5" fmla="*/ 49 h 114"/>
                <a:gd name="T6" fmla="*/ 22 w 188"/>
                <a:gd name="T7" fmla="*/ 40 h 114"/>
                <a:gd name="T8" fmla="*/ 40 w 188"/>
                <a:gd name="T9" fmla="*/ 52 h 114"/>
                <a:gd name="T10" fmla="*/ 71 w 188"/>
                <a:gd name="T11" fmla="*/ 62 h 114"/>
                <a:gd name="T12" fmla="*/ 79 w 188"/>
                <a:gd name="T13" fmla="*/ 50 h 114"/>
                <a:gd name="T14" fmla="*/ 69 w 188"/>
                <a:gd name="T15" fmla="*/ 34 h 114"/>
                <a:gd name="T16" fmla="*/ 74 w 188"/>
                <a:gd name="T17" fmla="*/ 15 h 114"/>
                <a:gd name="T18" fmla="*/ 103 w 188"/>
                <a:gd name="T19" fmla="*/ 11 h 114"/>
                <a:gd name="T20" fmla="*/ 136 w 188"/>
                <a:gd name="T21" fmla="*/ 7 h 114"/>
                <a:gd name="T22" fmla="*/ 158 w 188"/>
                <a:gd name="T23" fmla="*/ 9 h 114"/>
                <a:gd name="T24" fmla="*/ 178 w 188"/>
                <a:gd name="T25" fmla="*/ 36 h 114"/>
                <a:gd name="T26" fmla="*/ 188 w 188"/>
                <a:gd name="T27" fmla="*/ 54 h 114"/>
                <a:gd name="T28" fmla="*/ 172 w 188"/>
                <a:gd name="T29" fmla="*/ 68 h 114"/>
                <a:gd name="T30" fmla="*/ 109 w 188"/>
                <a:gd name="T31" fmla="*/ 80 h 114"/>
                <a:gd name="T32" fmla="*/ 71 w 188"/>
                <a:gd name="T33" fmla="*/ 86 h 114"/>
                <a:gd name="T34" fmla="*/ 37 w 188"/>
                <a:gd name="T35" fmla="*/ 99 h 114"/>
                <a:gd name="T36" fmla="*/ 15 w 188"/>
                <a:gd name="T37" fmla="*/ 107 h 114"/>
                <a:gd name="T38" fmla="*/ 2 w 188"/>
                <a:gd name="T39" fmla="*/ 108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8" h="114">
                  <a:moveTo>
                    <a:pt x="2" y="108"/>
                  </a:moveTo>
                  <a:cubicBezTo>
                    <a:pt x="0" y="106"/>
                    <a:pt x="0" y="94"/>
                    <a:pt x="2" y="81"/>
                  </a:cubicBezTo>
                  <a:cubicBezTo>
                    <a:pt x="4" y="64"/>
                    <a:pt x="7" y="55"/>
                    <a:pt x="13" y="49"/>
                  </a:cubicBezTo>
                  <a:cubicBezTo>
                    <a:pt x="22" y="40"/>
                    <a:pt x="22" y="40"/>
                    <a:pt x="22" y="40"/>
                  </a:cubicBezTo>
                  <a:cubicBezTo>
                    <a:pt x="40" y="52"/>
                    <a:pt x="40" y="52"/>
                    <a:pt x="40" y="52"/>
                  </a:cubicBezTo>
                  <a:cubicBezTo>
                    <a:pt x="54" y="61"/>
                    <a:pt x="61" y="63"/>
                    <a:pt x="71" y="62"/>
                  </a:cubicBezTo>
                  <a:cubicBezTo>
                    <a:pt x="84" y="59"/>
                    <a:pt x="87" y="55"/>
                    <a:pt x="79" y="50"/>
                  </a:cubicBezTo>
                  <a:cubicBezTo>
                    <a:pt x="76" y="48"/>
                    <a:pt x="72" y="41"/>
                    <a:pt x="69" y="34"/>
                  </a:cubicBezTo>
                  <a:cubicBezTo>
                    <a:pt x="65" y="22"/>
                    <a:pt x="66" y="20"/>
                    <a:pt x="74" y="15"/>
                  </a:cubicBezTo>
                  <a:cubicBezTo>
                    <a:pt x="81" y="10"/>
                    <a:pt x="89" y="9"/>
                    <a:pt x="103" y="11"/>
                  </a:cubicBezTo>
                  <a:cubicBezTo>
                    <a:pt x="118" y="13"/>
                    <a:pt x="126" y="12"/>
                    <a:pt x="136" y="7"/>
                  </a:cubicBezTo>
                  <a:cubicBezTo>
                    <a:pt x="148" y="0"/>
                    <a:pt x="149" y="0"/>
                    <a:pt x="158" y="9"/>
                  </a:cubicBezTo>
                  <a:cubicBezTo>
                    <a:pt x="164" y="14"/>
                    <a:pt x="173" y="26"/>
                    <a:pt x="178" y="36"/>
                  </a:cubicBezTo>
                  <a:cubicBezTo>
                    <a:pt x="188" y="54"/>
                    <a:pt x="188" y="54"/>
                    <a:pt x="188" y="54"/>
                  </a:cubicBezTo>
                  <a:cubicBezTo>
                    <a:pt x="172" y="68"/>
                    <a:pt x="172" y="68"/>
                    <a:pt x="172" y="68"/>
                  </a:cubicBezTo>
                  <a:cubicBezTo>
                    <a:pt x="154" y="84"/>
                    <a:pt x="140" y="87"/>
                    <a:pt x="109" y="80"/>
                  </a:cubicBezTo>
                  <a:cubicBezTo>
                    <a:pt x="90" y="76"/>
                    <a:pt x="87" y="77"/>
                    <a:pt x="71" y="86"/>
                  </a:cubicBezTo>
                  <a:cubicBezTo>
                    <a:pt x="62" y="92"/>
                    <a:pt x="46" y="97"/>
                    <a:pt x="37" y="99"/>
                  </a:cubicBezTo>
                  <a:cubicBezTo>
                    <a:pt x="28" y="100"/>
                    <a:pt x="18" y="104"/>
                    <a:pt x="15" y="107"/>
                  </a:cubicBezTo>
                  <a:cubicBezTo>
                    <a:pt x="10" y="114"/>
                    <a:pt x="5" y="114"/>
                    <a:pt x="2" y="108"/>
                  </a:cubicBezTo>
                  <a:close/>
                </a:path>
              </a:pathLst>
            </a:custGeom>
            <a:solidFill>
              <a:srgbClr val="C5C5C5"/>
            </a:solidFill>
            <a:ln w="33338" cap="flat">
              <a:solidFill>
                <a:srgbClr val="C5C5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68" name="Freeform 22"/>
            <p:cNvSpPr>
              <a:spLocks/>
            </p:cNvSpPr>
            <p:nvPr userDrawn="1"/>
          </p:nvSpPr>
          <p:spPr bwMode="grayWhite">
            <a:xfrm>
              <a:off x="11071225" y="523875"/>
              <a:ext cx="430213" cy="293688"/>
            </a:xfrm>
            <a:custGeom>
              <a:avLst/>
              <a:gdLst>
                <a:gd name="T0" fmla="*/ 86 w 157"/>
                <a:gd name="T1" fmla="*/ 101 h 106"/>
                <a:gd name="T2" fmla="*/ 76 w 157"/>
                <a:gd name="T3" fmla="*/ 92 h 106"/>
                <a:gd name="T4" fmla="*/ 66 w 157"/>
                <a:gd name="T5" fmla="*/ 82 h 106"/>
                <a:gd name="T6" fmla="*/ 40 w 157"/>
                <a:gd name="T7" fmla="*/ 81 h 106"/>
                <a:gd name="T8" fmla="*/ 24 w 157"/>
                <a:gd name="T9" fmla="*/ 80 h 106"/>
                <a:gd name="T10" fmla="*/ 12 w 157"/>
                <a:gd name="T11" fmla="*/ 56 h 106"/>
                <a:gd name="T12" fmla="*/ 0 w 157"/>
                <a:gd name="T13" fmla="*/ 39 h 106"/>
                <a:gd name="T14" fmla="*/ 9 w 157"/>
                <a:gd name="T15" fmla="*/ 32 h 106"/>
                <a:gd name="T16" fmla="*/ 34 w 157"/>
                <a:gd name="T17" fmla="*/ 22 h 106"/>
                <a:gd name="T18" fmla="*/ 67 w 157"/>
                <a:gd name="T19" fmla="*/ 9 h 106"/>
                <a:gd name="T20" fmla="*/ 106 w 157"/>
                <a:gd name="T21" fmla="*/ 4 h 106"/>
                <a:gd name="T22" fmla="*/ 137 w 157"/>
                <a:gd name="T23" fmla="*/ 6 h 106"/>
                <a:gd name="T24" fmla="*/ 147 w 157"/>
                <a:gd name="T25" fmla="*/ 32 h 106"/>
                <a:gd name="T26" fmla="*/ 140 w 157"/>
                <a:gd name="T27" fmla="*/ 56 h 106"/>
                <a:gd name="T28" fmla="*/ 111 w 157"/>
                <a:gd name="T29" fmla="*/ 97 h 106"/>
                <a:gd name="T30" fmla="*/ 86 w 157"/>
                <a:gd name="T31" fmla="*/ 10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7" h="106">
                  <a:moveTo>
                    <a:pt x="86" y="101"/>
                  </a:moveTo>
                  <a:cubicBezTo>
                    <a:pt x="80" y="98"/>
                    <a:pt x="76" y="94"/>
                    <a:pt x="76" y="92"/>
                  </a:cubicBezTo>
                  <a:cubicBezTo>
                    <a:pt x="76" y="90"/>
                    <a:pt x="71" y="85"/>
                    <a:pt x="66" y="82"/>
                  </a:cubicBezTo>
                  <a:cubicBezTo>
                    <a:pt x="58" y="76"/>
                    <a:pt x="55" y="76"/>
                    <a:pt x="40" y="81"/>
                  </a:cubicBezTo>
                  <a:cubicBezTo>
                    <a:pt x="25" y="87"/>
                    <a:pt x="24" y="87"/>
                    <a:pt x="24" y="80"/>
                  </a:cubicBezTo>
                  <a:cubicBezTo>
                    <a:pt x="24" y="76"/>
                    <a:pt x="18" y="65"/>
                    <a:pt x="12" y="56"/>
                  </a:cubicBezTo>
                  <a:cubicBezTo>
                    <a:pt x="0" y="39"/>
                    <a:pt x="0" y="39"/>
                    <a:pt x="0" y="39"/>
                  </a:cubicBezTo>
                  <a:cubicBezTo>
                    <a:pt x="9" y="32"/>
                    <a:pt x="9" y="32"/>
                    <a:pt x="9" y="32"/>
                  </a:cubicBezTo>
                  <a:cubicBezTo>
                    <a:pt x="14" y="28"/>
                    <a:pt x="25" y="24"/>
                    <a:pt x="34" y="22"/>
                  </a:cubicBezTo>
                  <a:cubicBezTo>
                    <a:pt x="42" y="21"/>
                    <a:pt x="57" y="15"/>
                    <a:pt x="67" y="9"/>
                  </a:cubicBezTo>
                  <a:cubicBezTo>
                    <a:pt x="83" y="0"/>
                    <a:pt x="85" y="0"/>
                    <a:pt x="106" y="4"/>
                  </a:cubicBezTo>
                  <a:cubicBezTo>
                    <a:pt x="118" y="7"/>
                    <a:pt x="132" y="8"/>
                    <a:pt x="137" y="6"/>
                  </a:cubicBezTo>
                  <a:cubicBezTo>
                    <a:pt x="151" y="3"/>
                    <a:pt x="157" y="19"/>
                    <a:pt x="147" y="32"/>
                  </a:cubicBezTo>
                  <a:cubicBezTo>
                    <a:pt x="143" y="38"/>
                    <a:pt x="140" y="48"/>
                    <a:pt x="140" y="56"/>
                  </a:cubicBezTo>
                  <a:cubicBezTo>
                    <a:pt x="139" y="72"/>
                    <a:pt x="131" y="84"/>
                    <a:pt x="111" y="97"/>
                  </a:cubicBezTo>
                  <a:cubicBezTo>
                    <a:pt x="98" y="106"/>
                    <a:pt x="96" y="106"/>
                    <a:pt x="86" y="101"/>
                  </a:cubicBezTo>
                  <a:close/>
                </a:path>
              </a:pathLst>
            </a:custGeom>
            <a:solidFill>
              <a:srgbClr val="C5C5C5"/>
            </a:solidFill>
            <a:ln w="33338" cap="flat">
              <a:solidFill>
                <a:srgbClr val="C5C5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69" name="Freeform 23"/>
            <p:cNvSpPr>
              <a:spLocks/>
            </p:cNvSpPr>
            <p:nvPr userDrawn="1"/>
          </p:nvSpPr>
          <p:spPr bwMode="grayWhite">
            <a:xfrm>
              <a:off x="11060113" y="750887"/>
              <a:ext cx="222250" cy="134938"/>
            </a:xfrm>
            <a:custGeom>
              <a:avLst/>
              <a:gdLst>
                <a:gd name="T0" fmla="*/ 0 w 81"/>
                <a:gd name="T1" fmla="*/ 43 h 49"/>
                <a:gd name="T2" fmla="*/ 7 w 81"/>
                <a:gd name="T3" fmla="*/ 33 h 49"/>
                <a:gd name="T4" fmla="*/ 7 w 81"/>
                <a:gd name="T5" fmla="*/ 28 h 49"/>
                <a:gd name="T6" fmla="*/ 0 w 81"/>
                <a:gd name="T7" fmla="*/ 27 h 49"/>
                <a:gd name="T8" fmla="*/ 18 w 81"/>
                <a:gd name="T9" fmla="*/ 12 h 49"/>
                <a:gd name="T10" fmla="*/ 42 w 81"/>
                <a:gd name="T11" fmla="*/ 5 h 49"/>
                <a:gd name="T12" fmla="*/ 65 w 81"/>
                <a:gd name="T13" fmla="*/ 1 h 49"/>
                <a:gd name="T14" fmla="*/ 78 w 81"/>
                <a:gd name="T15" fmla="*/ 22 h 49"/>
                <a:gd name="T16" fmla="*/ 0 w 81"/>
                <a:gd name="T17" fmla="*/ 4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49">
                  <a:moveTo>
                    <a:pt x="0" y="43"/>
                  </a:moveTo>
                  <a:cubicBezTo>
                    <a:pt x="0" y="42"/>
                    <a:pt x="3" y="38"/>
                    <a:pt x="7" y="33"/>
                  </a:cubicBezTo>
                  <a:cubicBezTo>
                    <a:pt x="13" y="26"/>
                    <a:pt x="13" y="25"/>
                    <a:pt x="7" y="28"/>
                  </a:cubicBezTo>
                  <a:cubicBezTo>
                    <a:pt x="3" y="29"/>
                    <a:pt x="0" y="29"/>
                    <a:pt x="0" y="27"/>
                  </a:cubicBezTo>
                  <a:cubicBezTo>
                    <a:pt x="0" y="21"/>
                    <a:pt x="10" y="12"/>
                    <a:pt x="18" y="12"/>
                  </a:cubicBezTo>
                  <a:cubicBezTo>
                    <a:pt x="22" y="12"/>
                    <a:pt x="33" y="8"/>
                    <a:pt x="42" y="5"/>
                  </a:cubicBezTo>
                  <a:cubicBezTo>
                    <a:pt x="52" y="1"/>
                    <a:pt x="62" y="0"/>
                    <a:pt x="65" y="1"/>
                  </a:cubicBezTo>
                  <a:cubicBezTo>
                    <a:pt x="73" y="4"/>
                    <a:pt x="81" y="17"/>
                    <a:pt x="78" y="22"/>
                  </a:cubicBezTo>
                  <a:cubicBezTo>
                    <a:pt x="73" y="29"/>
                    <a:pt x="0" y="49"/>
                    <a:pt x="0" y="43"/>
                  </a:cubicBezTo>
                  <a:close/>
                </a:path>
              </a:pathLst>
            </a:custGeom>
            <a:solidFill>
              <a:srgbClr val="C5C5C5"/>
            </a:solidFill>
            <a:ln w="33338" cap="flat">
              <a:solidFill>
                <a:srgbClr val="C5C5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70" name="Freeform 24"/>
            <p:cNvSpPr>
              <a:spLocks/>
            </p:cNvSpPr>
            <p:nvPr userDrawn="1"/>
          </p:nvSpPr>
          <p:spPr bwMode="grayWhite">
            <a:xfrm>
              <a:off x="10688638" y="814387"/>
              <a:ext cx="804863" cy="698500"/>
            </a:xfrm>
            <a:custGeom>
              <a:avLst/>
              <a:gdLst>
                <a:gd name="T0" fmla="*/ 172 w 294"/>
                <a:gd name="T1" fmla="*/ 242 h 252"/>
                <a:gd name="T2" fmla="*/ 157 w 294"/>
                <a:gd name="T3" fmla="*/ 231 h 252"/>
                <a:gd name="T4" fmla="*/ 138 w 294"/>
                <a:gd name="T5" fmla="*/ 230 h 252"/>
                <a:gd name="T6" fmla="*/ 130 w 294"/>
                <a:gd name="T7" fmla="*/ 225 h 252"/>
                <a:gd name="T8" fmla="*/ 100 w 294"/>
                <a:gd name="T9" fmla="*/ 219 h 252"/>
                <a:gd name="T10" fmla="*/ 84 w 294"/>
                <a:gd name="T11" fmla="*/ 214 h 252"/>
                <a:gd name="T12" fmla="*/ 68 w 294"/>
                <a:gd name="T13" fmla="*/ 204 h 252"/>
                <a:gd name="T14" fmla="*/ 52 w 294"/>
                <a:gd name="T15" fmla="*/ 193 h 252"/>
                <a:gd name="T16" fmla="*/ 45 w 294"/>
                <a:gd name="T17" fmla="*/ 183 h 252"/>
                <a:gd name="T18" fmla="*/ 25 w 294"/>
                <a:gd name="T19" fmla="*/ 151 h 252"/>
                <a:gd name="T20" fmla="*/ 7 w 294"/>
                <a:gd name="T21" fmla="*/ 123 h 252"/>
                <a:gd name="T22" fmla="*/ 8 w 294"/>
                <a:gd name="T23" fmla="*/ 111 h 252"/>
                <a:gd name="T24" fmla="*/ 6 w 294"/>
                <a:gd name="T25" fmla="*/ 89 h 252"/>
                <a:gd name="T26" fmla="*/ 7 w 294"/>
                <a:gd name="T27" fmla="*/ 70 h 252"/>
                <a:gd name="T28" fmla="*/ 28 w 294"/>
                <a:gd name="T29" fmla="*/ 58 h 252"/>
                <a:gd name="T30" fmla="*/ 45 w 294"/>
                <a:gd name="T31" fmla="*/ 45 h 252"/>
                <a:gd name="T32" fmla="*/ 90 w 294"/>
                <a:gd name="T33" fmla="*/ 12 h 252"/>
                <a:gd name="T34" fmla="*/ 97 w 294"/>
                <a:gd name="T35" fmla="*/ 17 h 252"/>
                <a:gd name="T36" fmla="*/ 130 w 294"/>
                <a:gd name="T37" fmla="*/ 31 h 252"/>
                <a:gd name="T38" fmla="*/ 162 w 294"/>
                <a:gd name="T39" fmla="*/ 21 h 252"/>
                <a:gd name="T40" fmla="*/ 205 w 294"/>
                <a:gd name="T41" fmla="*/ 8 h 252"/>
                <a:gd name="T42" fmla="*/ 229 w 294"/>
                <a:gd name="T43" fmla="*/ 2 h 252"/>
                <a:gd name="T44" fmla="*/ 244 w 294"/>
                <a:gd name="T45" fmla="*/ 25 h 252"/>
                <a:gd name="T46" fmla="*/ 259 w 294"/>
                <a:gd name="T47" fmla="*/ 50 h 252"/>
                <a:gd name="T48" fmla="*/ 260 w 294"/>
                <a:gd name="T49" fmla="*/ 70 h 252"/>
                <a:gd name="T50" fmla="*/ 263 w 294"/>
                <a:gd name="T51" fmla="*/ 91 h 252"/>
                <a:gd name="T52" fmla="*/ 272 w 294"/>
                <a:gd name="T53" fmla="*/ 108 h 252"/>
                <a:gd name="T54" fmla="*/ 281 w 294"/>
                <a:gd name="T55" fmla="*/ 127 h 252"/>
                <a:gd name="T56" fmla="*/ 284 w 294"/>
                <a:gd name="T57" fmla="*/ 178 h 252"/>
                <a:gd name="T58" fmla="*/ 280 w 294"/>
                <a:gd name="T59" fmla="*/ 218 h 252"/>
                <a:gd name="T60" fmla="*/ 284 w 294"/>
                <a:gd name="T61" fmla="*/ 228 h 252"/>
                <a:gd name="T62" fmla="*/ 259 w 294"/>
                <a:gd name="T63" fmla="*/ 226 h 252"/>
                <a:gd name="T64" fmla="*/ 226 w 294"/>
                <a:gd name="T65" fmla="*/ 229 h 252"/>
                <a:gd name="T66" fmla="*/ 211 w 294"/>
                <a:gd name="T67" fmla="*/ 235 h 252"/>
                <a:gd name="T68" fmla="*/ 202 w 294"/>
                <a:gd name="T69" fmla="*/ 242 h 252"/>
                <a:gd name="T70" fmla="*/ 193 w 294"/>
                <a:gd name="T71" fmla="*/ 243 h 252"/>
                <a:gd name="T72" fmla="*/ 181 w 294"/>
                <a:gd name="T73" fmla="*/ 245 h 252"/>
                <a:gd name="T74" fmla="*/ 172 w 294"/>
                <a:gd name="T75" fmla="*/ 24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94" h="252">
                  <a:moveTo>
                    <a:pt x="172" y="242"/>
                  </a:moveTo>
                  <a:cubicBezTo>
                    <a:pt x="169" y="234"/>
                    <a:pt x="165" y="231"/>
                    <a:pt x="157" y="231"/>
                  </a:cubicBezTo>
                  <a:cubicBezTo>
                    <a:pt x="151" y="231"/>
                    <a:pt x="142" y="230"/>
                    <a:pt x="138" y="230"/>
                  </a:cubicBezTo>
                  <a:cubicBezTo>
                    <a:pt x="133" y="230"/>
                    <a:pt x="130" y="227"/>
                    <a:pt x="130" y="225"/>
                  </a:cubicBezTo>
                  <a:cubicBezTo>
                    <a:pt x="132" y="218"/>
                    <a:pt x="104" y="213"/>
                    <a:pt x="100" y="219"/>
                  </a:cubicBezTo>
                  <a:cubicBezTo>
                    <a:pt x="96" y="225"/>
                    <a:pt x="84" y="221"/>
                    <a:pt x="84" y="214"/>
                  </a:cubicBezTo>
                  <a:cubicBezTo>
                    <a:pt x="84" y="211"/>
                    <a:pt x="76" y="206"/>
                    <a:pt x="68" y="204"/>
                  </a:cubicBezTo>
                  <a:cubicBezTo>
                    <a:pt x="59" y="201"/>
                    <a:pt x="52" y="196"/>
                    <a:pt x="52" y="193"/>
                  </a:cubicBezTo>
                  <a:cubicBezTo>
                    <a:pt x="52" y="191"/>
                    <a:pt x="49" y="186"/>
                    <a:pt x="45" y="183"/>
                  </a:cubicBezTo>
                  <a:cubicBezTo>
                    <a:pt x="42" y="180"/>
                    <a:pt x="33" y="166"/>
                    <a:pt x="25" y="151"/>
                  </a:cubicBezTo>
                  <a:cubicBezTo>
                    <a:pt x="18" y="136"/>
                    <a:pt x="10" y="124"/>
                    <a:pt x="7" y="123"/>
                  </a:cubicBezTo>
                  <a:cubicBezTo>
                    <a:pt x="4" y="122"/>
                    <a:pt x="4" y="118"/>
                    <a:pt x="8" y="111"/>
                  </a:cubicBezTo>
                  <a:cubicBezTo>
                    <a:pt x="11" y="103"/>
                    <a:pt x="11" y="98"/>
                    <a:pt x="6" y="89"/>
                  </a:cubicBezTo>
                  <a:cubicBezTo>
                    <a:pt x="0" y="77"/>
                    <a:pt x="0" y="76"/>
                    <a:pt x="7" y="70"/>
                  </a:cubicBezTo>
                  <a:cubicBezTo>
                    <a:pt x="10" y="67"/>
                    <a:pt x="20" y="62"/>
                    <a:pt x="28" y="58"/>
                  </a:cubicBezTo>
                  <a:cubicBezTo>
                    <a:pt x="36" y="55"/>
                    <a:pt x="44" y="49"/>
                    <a:pt x="45" y="45"/>
                  </a:cubicBezTo>
                  <a:cubicBezTo>
                    <a:pt x="48" y="37"/>
                    <a:pt x="82" y="12"/>
                    <a:pt x="90" y="12"/>
                  </a:cubicBezTo>
                  <a:cubicBezTo>
                    <a:pt x="93" y="12"/>
                    <a:pt x="96" y="14"/>
                    <a:pt x="97" y="17"/>
                  </a:cubicBezTo>
                  <a:cubicBezTo>
                    <a:pt x="101" y="27"/>
                    <a:pt x="123" y="37"/>
                    <a:pt x="130" y="31"/>
                  </a:cubicBezTo>
                  <a:cubicBezTo>
                    <a:pt x="133" y="29"/>
                    <a:pt x="147" y="24"/>
                    <a:pt x="162" y="21"/>
                  </a:cubicBezTo>
                  <a:cubicBezTo>
                    <a:pt x="177" y="18"/>
                    <a:pt x="196" y="12"/>
                    <a:pt x="205" y="8"/>
                  </a:cubicBezTo>
                  <a:cubicBezTo>
                    <a:pt x="215" y="3"/>
                    <a:pt x="225" y="0"/>
                    <a:pt x="229" y="2"/>
                  </a:cubicBezTo>
                  <a:cubicBezTo>
                    <a:pt x="232" y="3"/>
                    <a:pt x="239" y="13"/>
                    <a:pt x="244" y="25"/>
                  </a:cubicBezTo>
                  <a:cubicBezTo>
                    <a:pt x="249" y="36"/>
                    <a:pt x="255" y="47"/>
                    <a:pt x="259" y="50"/>
                  </a:cubicBezTo>
                  <a:cubicBezTo>
                    <a:pt x="265" y="54"/>
                    <a:pt x="265" y="57"/>
                    <a:pt x="260" y="70"/>
                  </a:cubicBezTo>
                  <a:cubicBezTo>
                    <a:pt x="255" y="84"/>
                    <a:pt x="255" y="85"/>
                    <a:pt x="263" y="91"/>
                  </a:cubicBezTo>
                  <a:cubicBezTo>
                    <a:pt x="268" y="94"/>
                    <a:pt x="272" y="101"/>
                    <a:pt x="272" y="108"/>
                  </a:cubicBezTo>
                  <a:cubicBezTo>
                    <a:pt x="272" y="115"/>
                    <a:pt x="275" y="122"/>
                    <a:pt x="281" y="127"/>
                  </a:cubicBezTo>
                  <a:cubicBezTo>
                    <a:pt x="294" y="137"/>
                    <a:pt x="294" y="144"/>
                    <a:pt x="284" y="178"/>
                  </a:cubicBezTo>
                  <a:cubicBezTo>
                    <a:pt x="277" y="200"/>
                    <a:pt x="276" y="209"/>
                    <a:pt x="280" y="218"/>
                  </a:cubicBezTo>
                  <a:cubicBezTo>
                    <a:pt x="284" y="228"/>
                    <a:pt x="284" y="228"/>
                    <a:pt x="284" y="228"/>
                  </a:cubicBezTo>
                  <a:cubicBezTo>
                    <a:pt x="259" y="226"/>
                    <a:pt x="259" y="226"/>
                    <a:pt x="259" y="226"/>
                  </a:cubicBezTo>
                  <a:cubicBezTo>
                    <a:pt x="239" y="224"/>
                    <a:pt x="232" y="224"/>
                    <a:pt x="226" y="229"/>
                  </a:cubicBezTo>
                  <a:cubicBezTo>
                    <a:pt x="221" y="233"/>
                    <a:pt x="215" y="235"/>
                    <a:pt x="211" y="235"/>
                  </a:cubicBezTo>
                  <a:cubicBezTo>
                    <a:pt x="207" y="235"/>
                    <a:pt x="203" y="238"/>
                    <a:pt x="202" y="242"/>
                  </a:cubicBezTo>
                  <a:cubicBezTo>
                    <a:pt x="200" y="247"/>
                    <a:pt x="198" y="248"/>
                    <a:pt x="193" y="243"/>
                  </a:cubicBezTo>
                  <a:cubicBezTo>
                    <a:pt x="188" y="239"/>
                    <a:pt x="186" y="239"/>
                    <a:pt x="181" y="245"/>
                  </a:cubicBezTo>
                  <a:cubicBezTo>
                    <a:pt x="176" y="252"/>
                    <a:pt x="176" y="252"/>
                    <a:pt x="172" y="242"/>
                  </a:cubicBezTo>
                  <a:close/>
                </a:path>
              </a:pathLst>
            </a:custGeom>
            <a:solidFill>
              <a:srgbClr val="C5C5C5"/>
            </a:solidFill>
            <a:ln w="33338" cap="flat">
              <a:solidFill>
                <a:srgbClr val="C5C5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71" name="Freeform 25"/>
            <p:cNvSpPr>
              <a:spLocks/>
            </p:cNvSpPr>
            <p:nvPr userDrawn="1"/>
          </p:nvSpPr>
          <p:spPr bwMode="grayWhite">
            <a:xfrm>
              <a:off x="10610850" y="1368425"/>
              <a:ext cx="546100" cy="317500"/>
            </a:xfrm>
            <a:custGeom>
              <a:avLst/>
              <a:gdLst>
                <a:gd name="T0" fmla="*/ 64 w 199"/>
                <a:gd name="T1" fmla="*/ 103 h 114"/>
                <a:gd name="T2" fmla="*/ 48 w 199"/>
                <a:gd name="T3" fmla="*/ 96 h 114"/>
                <a:gd name="T4" fmla="*/ 12 w 199"/>
                <a:gd name="T5" fmla="*/ 61 h 114"/>
                <a:gd name="T6" fmla="*/ 5 w 199"/>
                <a:gd name="T7" fmla="*/ 52 h 114"/>
                <a:gd name="T8" fmla="*/ 18 w 199"/>
                <a:gd name="T9" fmla="*/ 38 h 114"/>
                <a:gd name="T10" fmla="*/ 49 w 199"/>
                <a:gd name="T11" fmla="*/ 16 h 114"/>
                <a:gd name="T12" fmla="*/ 112 w 199"/>
                <a:gd name="T13" fmla="*/ 20 h 114"/>
                <a:gd name="T14" fmla="*/ 132 w 199"/>
                <a:gd name="T15" fmla="*/ 24 h 114"/>
                <a:gd name="T16" fmla="*/ 151 w 199"/>
                <a:gd name="T17" fmla="*/ 26 h 114"/>
                <a:gd name="T18" fmla="*/ 166 w 199"/>
                <a:gd name="T19" fmla="*/ 34 h 114"/>
                <a:gd name="T20" fmla="*/ 187 w 199"/>
                <a:gd name="T21" fmla="*/ 35 h 114"/>
                <a:gd name="T22" fmla="*/ 188 w 199"/>
                <a:gd name="T23" fmla="*/ 56 h 114"/>
                <a:gd name="T24" fmla="*/ 180 w 199"/>
                <a:gd name="T25" fmla="*/ 66 h 114"/>
                <a:gd name="T26" fmla="*/ 171 w 199"/>
                <a:gd name="T27" fmla="*/ 76 h 114"/>
                <a:gd name="T28" fmla="*/ 159 w 199"/>
                <a:gd name="T29" fmla="*/ 84 h 114"/>
                <a:gd name="T30" fmla="*/ 127 w 199"/>
                <a:gd name="T31" fmla="*/ 88 h 114"/>
                <a:gd name="T32" fmla="*/ 95 w 199"/>
                <a:gd name="T33" fmla="*/ 100 h 114"/>
                <a:gd name="T34" fmla="*/ 64 w 199"/>
                <a:gd name="T35" fmla="*/ 103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9" h="114">
                  <a:moveTo>
                    <a:pt x="64" y="103"/>
                  </a:moveTo>
                  <a:cubicBezTo>
                    <a:pt x="59" y="99"/>
                    <a:pt x="52" y="96"/>
                    <a:pt x="48" y="96"/>
                  </a:cubicBezTo>
                  <a:cubicBezTo>
                    <a:pt x="40" y="96"/>
                    <a:pt x="12" y="69"/>
                    <a:pt x="12" y="61"/>
                  </a:cubicBezTo>
                  <a:cubicBezTo>
                    <a:pt x="12" y="58"/>
                    <a:pt x="9" y="54"/>
                    <a:pt x="5" y="52"/>
                  </a:cubicBezTo>
                  <a:cubicBezTo>
                    <a:pt x="0" y="49"/>
                    <a:pt x="2" y="47"/>
                    <a:pt x="18" y="38"/>
                  </a:cubicBezTo>
                  <a:cubicBezTo>
                    <a:pt x="29" y="31"/>
                    <a:pt x="43" y="22"/>
                    <a:pt x="49" y="16"/>
                  </a:cubicBezTo>
                  <a:cubicBezTo>
                    <a:pt x="66" y="0"/>
                    <a:pt x="93" y="1"/>
                    <a:pt x="112" y="20"/>
                  </a:cubicBezTo>
                  <a:cubicBezTo>
                    <a:pt x="120" y="28"/>
                    <a:pt x="132" y="30"/>
                    <a:pt x="132" y="24"/>
                  </a:cubicBezTo>
                  <a:cubicBezTo>
                    <a:pt x="132" y="17"/>
                    <a:pt x="147" y="19"/>
                    <a:pt x="151" y="26"/>
                  </a:cubicBezTo>
                  <a:cubicBezTo>
                    <a:pt x="153" y="30"/>
                    <a:pt x="160" y="33"/>
                    <a:pt x="166" y="34"/>
                  </a:cubicBezTo>
                  <a:cubicBezTo>
                    <a:pt x="172" y="34"/>
                    <a:pt x="182" y="35"/>
                    <a:pt x="187" y="35"/>
                  </a:cubicBezTo>
                  <a:cubicBezTo>
                    <a:pt x="198" y="36"/>
                    <a:pt x="199" y="50"/>
                    <a:pt x="188" y="56"/>
                  </a:cubicBezTo>
                  <a:cubicBezTo>
                    <a:pt x="183" y="58"/>
                    <a:pt x="180" y="62"/>
                    <a:pt x="180" y="66"/>
                  </a:cubicBezTo>
                  <a:cubicBezTo>
                    <a:pt x="180" y="69"/>
                    <a:pt x="175" y="73"/>
                    <a:pt x="171" y="76"/>
                  </a:cubicBezTo>
                  <a:cubicBezTo>
                    <a:pt x="166" y="79"/>
                    <a:pt x="161" y="82"/>
                    <a:pt x="159" y="84"/>
                  </a:cubicBezTo>
                  <a:cubicBezTo>
                    <a:pt x="158" y="86"/>
                    <a:pt x="144" y="88"/>
                    <a:pt x="127" y="88"/>
                  </a:cubicBezTo>
                  <a:cubicBezTo>
                    <a:pt x="99" y="89"/>
                    <a:pt x="97" y="90"/>
                    <a:pt x="95" y="100"/>
                  </a:cubicBezTo>
                  <a:cubicBezTo>
                    <a:pt x="93" y="112"/>
                    <a:pt x="77" y="114"/>
                    <a:pt x="64" y="103"/>
                  </a:cubicBezTo>
                  <a:close/>
                </a:path>
              </a:pathLst>
            </a:custGeom>
            <a:solidFill>
              <a:srgbClr val="C5C5C5"/>
            </a:solidFill>
            <a:ln w="33338" cap="flat">
              <a:solidFill>
                <a:srgbClr val="C5C5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72" name="Freeform 26"/>
            <p:cNvSpPr>
              <a:spLocks/>
            </p:cNvSpPr>
            <p:nvPr userDrawn="1"/>
          </p:nvSpPr>
          <p:spPr bwMode="grayWhite">
            <a:xfrm>
              <a:off x="11342688" y="423862"/>
              <a:ext cx="703263" cy="650875"/>
            </a:xfrm>
            <a:custGeom>
              <a:avLst/>
              <a:gdLst>
                <a:gd name="T0" fmla="*/ 27 w 257"/>
                <a:gd name="T1" fmla="*/ 230 h 235"/>
                <a:gd name="T2" fmla="*/ 24 w 257"/>
                <a:gd name="T3" fmla="*/ 214 h 235"/>
                <a:gd name="T4" fmla="*/ 23 w 257"/>
                <a:gd name="T5" fmla="*/ 187 h 235"/>
                <a:gd name="T6" fmla="*/ 9 w 257"/>
                <a:gd name="T7" fmla="*/ 166 h 235"/>
                <a:gd name="T8" fmla="*/ 0 w 257"/>
                <a:gd name="T9" fmla="*/ 147 h 235"/>
                <a:gd name="T10" fmla="*/ 9 w 257"/>
                <a:gd name="T11" fmla="*/ 141 h 235"/>
                <a:gd name="T12" fmla="*/ 45 w 257"/>
                <a:gd name="T13" fmla="*/ 93 h 235"/>
                <a:gd name="T14" fmla="*/ 52 w 257"/>
                <a:gd name="T15" fmla="*/ 69 h 235"/>
                <a:gd name="T16" fmla="*/ 56 w 257"/>
                <a:gd name="T17" fmla="*/ 51 h 235"/>
                <a:gd name="T18" fmla="*/ 73 w 257"/>
                <a:gd name="T19" fmla="*/ 26 h 235"/>
                <a:gd name="T20" fmla="*/ 83 w 257"/>
                <a:gd name="T21" fmla="*/ 16 h 235"/>
                <a:gd name="T22" fmla="*/ 123 w 257"/>
                <a:gd name="T23" fmla="*/ 10 h 235"/>
                <a:gd name="T24" fmla="*/ 149 w 257"/>
                <a:gd name="T25" fmla="*/ 8 h 235"/>
                <a:gd name="T26" fmla="*/ 164 w 257"/>
                <a:gd name="T27" fmla="*/ 0 h 235"/>
                <a:gd name="T28" fmla="*/ 170 w 257"/>
                <a:gd name="T29" fmla="*/ 9 h 235"/>
                <a:gd name="T30" fmla="*/ 181 w 257"/>
                <a:gd name="T31" fmla="*/ 30 h 235"/>
                <a:gd name="T32" fmla="*/ 237 w 257"/>
                <a:gd name="T33" fmla="*/ 65 h 235"/>
                <a:gd name="T34" fmla="*/ 257 w 257"/>
                <a:gd name="T35" fmla="*/ 79 h 235"/>
                <a:gd name="T36" fmla="*/ 242 w 257"/>
                <a:gd name="T37" fmla="*/ 92 h 235"/>
                <a:gd name="T38" fmla="*/ 228 w 257"/>
                <a:gd name="T39" fmla="*/ 101 h 235"/>
                <a:gd name="T40" fmla="*/ 237 w 257"/>
                <a:gd name="T41" fmla="*/ 116 h 235"/>
                <a:gd name="T42" fmla="*/ 246 w 257"/>
                <a:gd name="T43" fmla="*/ 132 h 235"/>
                <a:gd name="T44" fmla="*/ 235 w 257"/>
                <a:gd name="T45" fmla="*/ 146 h 235"/>
                <a:gd name="T46" fmla="*/ 227 w 257"/>
                <a:gd name="T47" fmla="*/ 170 h 235"/>
                <a:gd name="T48" fmla="*/ 209 w 257"/>
                <a:gd name="T49" fmla="*/ 182 h 235"/>
                <a:gd name="T50" fmla="*/ 164 w 257"/>
                <a:gd name="T51" fmla="*/ 195 h 235"/>
                <a:gd name="T52" fmla="*/ 113 w 257"/>
                <a:gd name="T53" fmla="*/ 202 h 235"/>
                <a:gd name="T54" fmla="*/ 66 w 257"/>
                <a:gd name="T55" fmla="*/ 209 h 235"/>
                <a:gd name="T56" fmla="*/ 39 w 257"/>
                <a:gd name="T57" fmla="*/ 227 h 235"/>
                <a:gd name="T58" fmla="*/ 27 w 257"/>
                <a:gd name="T59" fmla="*/ 23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7" h="235">
                  <a:moveTo>
                    <a:pt x="27" y="230"/>
                  </a:moveTo>
                  <a:cubicBezTo>
                    <a:pt x="20" y="225"/>
                    <a:pt x="20" y="223"/>
                    <a:pt x="24" y="214"/>
                  </a:cubicBezTo>
                  <a:cubicBezTo>
                    <a:pt x="30" y="201"/>
                    <a:pt x="30" y="190"/>
                    <a:pt x="23" y="187"/>
                  </a:cubicBezTo>
                  <a:cubicBezTo>
                    <a:pt x="20" y="186"/>
                    <a:pt x="13" y="176"/>
                    <a:pt x="9" y="166"/>
                  </a:cubicBezTo>
                  <a:cubicBezTo>
                    <a:pt x="0" y="147"/>
                    <a:pt x="0" y="147"/>
                    <a:pt x="0" y="147"/>
                  </a:cubicBezTo>
                  <a:cubicBezTo>
                    <a:pt x="9" y="141"/>
                    <a:pt x="9" y="141"/>
                    <a:pt x="9" y="141"/>
                  </a:cubicBezTo>
                  <a:cubicBezTo>
                    <a:pt x="32" y="125"/>
                    <a:pt x="45" y="108"/>
                    <a:pt x="45" y="93"/>
                  </a:cubicBezTo>
                  <a:cubicBezTo>
                    <a:pt x="45" y="85"/>
                    <a:pt x="48" y="74"/>
                    <a:pt x="52" y="69"/>
                  </a:cubicBezTo>
                  <a:cubicBezTo>
                    <a:pt x="58" y="61"/>
                    <a:pt x="59" y="57"/>
                    <a:pt x="56" y="51"/>
                  </a:cubicBezTo>
                  <a:cubicBezTo>
                    <a:pt x="51" y="43"/>
                    <a:pt x="60" y="31"/>
                    <a:pt x="73" y="26"/>
                  </a:cubicBezTo>
                  <a:cubicBezTo>
                    <a:pt x="77" y="25"/>
                    <a:pt x="81" y="21"/>
                    <a:pt x="83" y="16"/>
                  </a:cubicBezTo>
                  <a:cubicBezTo>
                    <a:pt x="86" y="6"/>
                    <a:pt x="108" y="2"/>
                    <a:pt x="123" y="10"/>
                  </a:cubicBezTo>
                  <a:cubicBezTo>
                    <a:pt x="133" y="15"/>
                    <a:pt x="136" y="15"/>
                    <a:pt x="149" y="8"/>
                  </a:cubicBezTo>
                  <a:cubicBezTo>
                    <a:pt x="164" y="0"/>
                    <a:pt x="164" y="0"/>
                    <a:pt x="164" y="0"/>
                  </a:cubicBezTo>
                  <a:cubicBezTo>
                    <a:pt x="170" y="9"/>
                    <a:pt x="170" y="9"/>
                    <a:pt x="170" y="9"/>
                  </a:cubicBezTo>
                  <a:cubicBezTo>
                    <a:pt x="173" y="14"/>
                    <a:pt x="178" y="24"/>
                    <a:pt x="181" y="30"/>
                  </a:cubicBezTo>
                  <a:cubicBezTo>
                    <a:pt x="187" y="42"/>
                    <a:pt x="222" y="65"/>
                    <a:pt x="237" y="65"/>
                  </a:cubicBezTo>
                  <a:cubicBezTo>
                    <a:pt x="248" y="65"/>
                    <a:pt x="257" y="71"/>
                    <a:pt x="257" y="79"/>
                  </a:cubicBezTo>
                  <a:cubicBezTo>
                    <a:pt x="257" y="82"/>
                    <a:pt x="250" y="88"/>
                    <a:pt x="242" y="92"/>
                  </a:cubicBezTo>
                  <a:cubicBezTo>
                    <a:pt x="228" y="101"/>
                    <a:pt x="228" y="101"/>
                    <a:pt x="228" y="101"/>
                  </a:cubicBezTo>
                  <a:cubicBezTo>
                    <a:pt x="237" y="116"/>
                    <a:pt x="237" y="116"/>
                    <a:pt x="237" y="116"/>
                  </a:cubicBezTo>
                  <a:cubicBezTo>
                    <a:pt x="246" y="132"/>
                    <a:pt x="246" y="132"/>
                    <a:pt x="246" y="132"/>
                  </a:cubicBezTo>
                  <a:cubicBezTo>
                    <a:pt x="235" y="146"/>
                    <a:pt x="235" y="146"/>
                    <a:pt x="235" y="146"/>
                  </a:cubicBezTo>
                  <a:cubicBezTo>
                    <a:pt x="227" y="156"/>
                    <a:pt x="225" y="162"/>
                    <a:pt x="227" y="170"/>
                  </a:cubicBezTo>
                  <a:cubicBezTo>
                    <a:pt x="229" y="179"/>
                    <a:pt x="228" y="179"/>
                    <a:pt x="209" y="182"/>
                  </a:cubicBezTo>
                  <a:cubicBezTo>
                    <a:pt x="198" y="183"/>
                    <a:pt x="178" y="189"/>
                    <a:pt x="164" y="195"/>
                  </a:cubicBezTo>
                  <a:cubicBezTo>
                    <a:pt x="142" y="204"/>
                    <a:pt x="135" y="205"/>
                    <a:pt x="113" y="202"/>
                  </a:cubicBezTo>
                  <a:cubicBezTo>
                    <a:pt x="92" y="200"/>
                    <a:pt x="84" y="201"/>
                    <a:pt x="66" y="209"/>
                  </a:cubicBezTo>
                  <a:cubicBezTo>
                    <a:pt x="53" y="214"/>
                    <a:pt x="42" y="221"/>
                    <a:pt x="39" y="227"/>
                  </a:cubicBezTo>
                  <a:cubicBezTo>
                    <a:pt x="35" y="235"/>
                    <a:pt x="34" y="235"/>
                    <a:pt x="27" y="230"/>
                  </a:cubicBezTo>
                  <a:close/>
                </a:path>
              </a:pathLst>
            </a:custGeom>
            <a:solidFill>
              <a:srgbClr val="C5C5C5"/>
            </a:solidFill>
            <a:ln w="33338" cap="flat">
              <a:solidFill>
                <a:srgbClr val="C5C5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73" name="Freeform 27"/>
            <p:cNvSpPr>
              <a:spLocks/>
            </p:cNvSpPr>
            <p:nvPr userDrawn="1"/>
          </p:nvSpPr>
          <p:spPr bwMode="grayWhite">
            <a:xfrm>
              <a:off x="11414125" y="720725"/>
              <a:ext cx="1355725" cy="992188"/>
            </a:xfrm>
            <a:custGeom>
              <a:avLst/>
              <a:gdLst>
                <a:gd name="T0" fmla="*/ 227 w 495"/>
                <a:gd name="T1" fmla="*/ 355 h 358"/>
                <a:gd name="T2" fmla="*/ 225 w 495"/>
                <a:gd name="T3" fmla="*/ 349 h 358"/>
                <a:gd name="T4" fmla="*/ 233 w 495"/>
                <a:gd name="T5" fmla="*/ 321 h 358"/>
                <a:gd name="T6" fmla="*/ 239 w 495"/>
                <a:gd name="T7" fmla="*/ 297 h 358"/>
                <a:gd name="T8" fmla="*/ 219 w 495"/>
                <a:gd name="T9" fmla="*/ 277 h 358"/>
                <a:gd name="T10" fmla="*/ 199 w 495"/>
                <a:gd name="T11" fmla="*/ 253 h 358"/>
                <a:gd name="T12" fmla="*/ 183 w 495"/>
                <a:gd name="T13" fmla="*/ 239 h 358"/>
                <a:gd name="T14" fmla="*/ 149 w 495"/>
                <a:gd name="T15" fmla="*/ 241 h 358"/>
                <a:gd name="T16" fmla="*/ 136 w 495"/>
                <a:gd name="T17" fmla="*/ 255 h 358"/>
                <a:gd name="T18" fmla="*/ 127 w 495"/>
                <a:gd name="T19" fmla="*/ 267 h 358"/>
                <a:gd name="T20" fmla="*/ 118 w 495"/>
                <a:gd name="T21" fmla="*/ 276 h 358"/>
                <a:gd name="T22" fmla="*/ 97 w 495"/>
                <a:gd name="T23" fmla="*/ 291 h 358"/>
                <a:gd name="T24" fmla="*/ 83 w 495"/>
                <a:gd name="T25" fmla="*/ 298 h 358"/>
                <a:gd name="T26" fmla="*/ 70 w 495"/>
                <a:gd name="T27" fmla="*/ 297 h 358"/>
                <a:gd name="T28" fmla="*/ 13 w 495"/>
                <a:gd name="T29" fmla="*/ 300 h 358"/>
                <a:gd name="T30" fmla="*/ 17 w 495"/>
                <a:gd name="T31" fmla="*/ 267 h 358"/>
                <a:gd name="T32" fmla="*/ 19 w 495"/>
                <a:gd name="T33" fmla="*/ 252 h 358"/>
                <a:gd name="T34" fmla="*/ 23 w 495"/>
                <a:gd name="T35" fmla="*/ 212 h 358"/>
                <a:gd name="T36" fmla="*/ 20 w 495"/>
                <a:gd name="T37" fmla="*/ 160 h 358"/>
                <a:gd name="T38" fmla="*/ 41 w 495"/>
                <a:gd name="T39" fmla="*/ 105 h 358"/>
                <a:gd name="T40" fmla="*/ 87 w 495"/>
                <a:gd name="T41" fmla="*/ 99 h 358"/>
                <a:gd name="T42" fmla="*/ 138 w 495"/>
                <a:gd name="T43" fmla="*/ 92 h 358"/>
                <a:gd name="T44" fmla="*/ 184 w 495"/>
                <a:gd name="T45" fmla="*/ 78 h 358"/>
                <a:gd name="T46" fmla="*/ 204 w 495"/>
                <a:gd name="T47" fmla="*/ 64 h 358"/>
                <a:gd name="T48" fmla="*/ 224 w 495"/>
                <a:gd name="T49" fmla="*/ 30 h 358"/>
                <a:gd name="T50" fmla="*/ 252 w 495"/>
                <a:gd name="T51" fmla="*/ 15 h 358"/>
                <a:gd name="T52" fmla="*/ 296 w 495"/>
                <a:gd name="T53" fmla="*/ 17 h 358"/>
                <a:gd name="T54" fmla="*/ 332 w 495"/>
                <a:gd name="T55" fmla="*/ 39 h 358"/>
                <a:gd name="T56" fmla="*/ 355 w 495"/>
                <a:gd name="T57" fmla="*/ 50 h 358"/>
                <a:gd name="T58" fmla="*/ 383 w 495"/>
                <a:gd name="T59" fmla="*/ 60 h 358"/>
                <a:gd name="T60" fmla="*/ 411 w 495"/>
                <a:gd name="T61" fmla="*/ 51 h 358"/>
                <a:gd name="T62" fmla="*/ 433 w 495"/>
                <a:gd name="T63" fmla="*/ 51 h 358"/>
                <a:gd name="T64" fmla="*/ 463 w 495"/>
                <a:gd name="T65" fmla="*/ 53 h 358"/>
                <a:gd name="T66" fmla="*/ 495 w 495"/>
                <a:gd name="T67" fmla="*/ 98 h 358"/>
                <a:gd name="T68" fmla="*/ 495 w 495"/>
                <a:gd name="T69" fmla="*/ 142 h 358"/>
                <a:gd name="T70" fmla="*/ 482 w 495"/>
                <a:gd name="T71" fmla="*/ 152 h 358"/>
                <a:gd name="T72" fmla="*/ 465 w 495"/>
                <a:gd name="T73" fmla="*/ 173 h 358"/>
                <a:gd name="T74" fmla="*/ 433 w 495"/>
                <a:gd name="T75" fmla="*/ 206 h 358"/>
                <a:gd name="T76" fmla="*/ 425 w 495"/>
                <a:gd name="T77" fmla="*/ 216 h 358"/>
                <a:gd name="T78" fmla="*/ 394 w 495"/>
                <a:gd name="T79" fmla="*/ 250 h 358"/>
                <a:gd name="T80" fmla="*/ 391 w 495"/>
                <a:gd name="T81" fmla="*/ 254 h 358"/>
                <a:gd name="T82" fmla="*/ 383 w 495"/>
                <a:gd name="T83" fmla="*/ 258 h 358"/>
                <a:gd name="T84" fmla="*/ 375 w 495"/>
                <a:gd name="T85" fmla="*/ 264 h 358"/>
                <a:gd name="T86" fmla="*/ 367 w 495"/>
                <a:gd name="T87" fmla="*/ 268 h 358"/>
                <a:gd name="T88" fmla="*/ 359 w 495"/>
                <a:gd name="T89" fmla="*/ 269 h 358"/>
                <a:gd name="T90" fmla="*/ 334 w 495"/>
                <a:gd name="T91" fmla="*/ 278 h 358"/>
                <a:gd name="T92" fmla="*/ 332 w 495"/>
                <a:gd name="T93" fmla="*/ 270 h 358"/>
                <a:gd name="T94" fmla="*/ 331 w 495"/>
                <a:gd name="T95" fmla="*/ 261 h 358"/>
                <a:gd name="T96" fmla="*/ 319 w 495"/>
                <a:gd name="T97" fmla="*/ 258 h 358"/>
                <a:gd name="T98" fmla="*/ 310 w 495"/>
                <a:gd name="T99" fmla="*/ 250 h 358"/>
                <a:gd name="T100" fmla="*/ 311 w 495"/>
                <a:gd name="T101" fmla="*/ 258 h 358"/>
                <a:gd name="T102" fmla="*/ 313 w 495"/>
                <a:gd name="T103" fmla="*/ 266 h 358"/>
                <a:gd name="T104" fmla="*/ 307 w 495"/>
                <a:gd name="T105" fmla="*/ 267 h 358"/>
                <a:gd name="T106" fmla="*/ 287 w 495"/>
                <a:gd name="T107" fmla="*/ 301 h 358"/>
                <a:gd name="T108" fmla="*/ 280 w 495"/>
                <a:gd name="T109" fmla="*/ 316 h 358"/>
                <a:gd name="T110" fmla="*/ 276 w 495"/>
                <a:gd name="T111" fmla="*/ 324 h 358"/>
                <a:gd name="T112" fmla="*/ 238 w 495"/>
                <a:gd name="T113" fmla="*/ 357 h 358"/>
                <a:gd name="T114" fmla="*/ 227 w 495"/>
                <a:gd name="T115" fmla="*/ 355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5" h="358">
                  <a:moveTo>
                    <a:pt x="227" y="355"/>
                  </a:moveTo>
                  <a:cubicBezTo>
                    <a:pt x="225" y="354"/>
                    <a:pt x="224" y="351"/>
                    <a:pt x="225" y="349"/>
                  </a:cubicBezTo>
                  <a:cubicBezTo>
                    <a:pt x="226" y="347"/>
                    <a:pt x="230" y="334"/>
                    <a:pt x="233" y="321"/>
                  </a:cubicBezTo>
                  <a:cubicBezTo>
                    <a:pt x="239" y="297"/>
                    <a:pt x="239" y="297"/>
                    <a:pt x="239" y="297"/>
                  </a:cubicBezTo>
                  <a:cubicBezTo>
                    <a:pt x="219" y="277"/>
                    <a:pt x="219" y="277"/>
                    <a:pt x="219" y="277"/>
                  </a:cubicBezTo>
                  <a:cubicBezTo>
                    <a:pt x="208" y="266"/>
                    <a:pt x="199" y="255"/>
                    <a:pt x="199" y="253"/>
                  </a:cubicBezTo>
                  <a:cubicBezTo>
                    <a:pt x="199" y="251"/>
                    <a:pt x="191" y="245"/>
                    <a:pt x="183" y="239"/>
                  </a:cubicBezTo>
                  <a:cubicBezTo>
                    <a:pt x="166" y="228"/>
                    <a:pt x="153" y="229"/>
                    <a:pt x="149" y="241"/>
                  </a:cubicBezTo>
                  <a:cubicBezTo>
                    <a:pt x="147" y="245"/>
                    <a:pt x="142" y="252"/>
                    <a:pt x="136" y="255"/>
                  </a:cubicBezTo>
                  <a:cubicBezTo>
                    <a:pt x="131" y="259"/>
                    <a:pt x="127" y="264"/>
                    <a:pt x="127" y="267"/>
                  </a:cubicBezTo>
                  <a:cubicBezTo>
                    <a:pt x="127" y="270"/>
                    <a:pt x="122" y="274"/>
                    <a:pt x="118" y="276"/>
                  </a:cubicBezTo>
                  <a:cubicBezTo>
                    <a:pt x="113" y="277"/>
                    <a:pt x="104" y="284"/>
                    <a:pt x="97" y="291"/>
                  </a:cubicBezTo>
                  <a:cubicBezTo>
                    <a:pt x="89" y="299"/>
                    <a:pt x="85" y="302"/>
                    <a:pt x="83" y="298"/>
                  </a:cubicBezTo>
                  <a:cubicBezTo>
                    <a:pt x="81" y="295"/>
                    <a:pt x="77" y="294"/>
                    <a:pt x="70" y="297"/>
                  </a:cubicBezTo>
                  <a:cubicBezTo>
                    <a:pt x="51" y="304"/>
                    <a:pt x="21" y="306"/>
                    <a:pt x="13" y="300"/>
                  </a:cubicBezTo>
                  <a:cubicBezTo>
                    <a:pt x="5" y="294"/>
                    <a:pt x="7" y="275"/>
                    <a:pt x="17" y="267"/>
                  </a:cubicBezTo>
                  <a:cubicBezTo>
                    <a:pt x="21" y="264"/>
                    <a:pt x="22" y="260"/>
                    <a:pt x="19" y="252"/>
                  </a:cubicBezTo>
                  <a:cubicBezTo>
                    <a:pt x="15" y="243"/>
                    <a:pt x="16" y="235"/>
                    <a:pt x="23" y="212"/>
                  </a:cubicBezTo>
                  <a:cubicBezTo>
                    <a:pt x="34" y="178"/>
                    <a:pt x="33" y="170"/>
                    <a:pt x="20" y="160"/>
                  </a:cubicBezTo>
                  <a:cubicBezTo>
                    <a:pt x="0" y="145"/>
                    <a:pt x="10" y="118"/>
                    <a:pt x="41" y="105"/>
                  </a:cubicBezTo>
                  <a:cubicBezTo>
                    <a:pt x="58" y="98"/>
                    <a:pt x="66" y="97"/>
                    <a:pt x="87" y="99"/>
                  </a:cubicBezTo>
                  <a:cubicBezTo>
                    <a:pt x="109" y="102"/>
                    <a:pt x="116" y="101"/>
                    <a:pt x="138" y="92"/>
                  </a:cubicBezTo>
                  <a:cubicBezTo>
                    <a:pt x="151" y="86"/>
                    <a:pt x="172" y="80"/>
                    <a:pt x="184" y="78"/>
                  </a:cubicBezTo>
                  <a:cubicBezTo>
                    <a:pt x="204" y="75"/>
                    <a:pt x="204" y="75"/>
                    <a:pt x="204" y="64"/>
                  </a:cubicBezTo>
                  <a:cubicBezTo>
                    <a:pt x="203" y="51"/>
                    <a:pt x="216" y="30"/>
                    <a:pt x="224" y="30"/>
                  </a:cubicBezTo>
                  <a:cubicBezTo>
                    <a:pt x="227" y="30"/>
                    <a:pt x="240" y="23"/>
                    <a:pt x="252" y="15"/>
                  </a:cubicBezTo>
                  <a:cubicBezTo>
                    <a:pt x="279" y="0"/>
                    <a:pt x="287" y="0"/>
                    <a:pt x="296" y="17"/>
                  </a:cubicBezTo>
                  <a:cubicBezTo>
                    <a:pt x="304" y="32"/>
                    <a:pt x="319" y="41"/>
                    <a:pt x="332" y="39"/>
                  </a:cubicBezTo>
                  <a:cubicBezTo>
                    <a:pt x="340" y="37"/>
                    <a:pt x="345" y="39"/>
                    <a:pt x="355" y="50"/>
                  </a:cubicBezTo>
                  <a:cubicBezTo>
                    <a:pt x="366" y="61"/>
                    <a:pt x="368" y="62"/>
                    <a:pt x="383" y="60"/>
                  </a:cubicBezTo>
                  <a:cubicBezTo>
                    <a:pt x="392" y="58"/>
                    <a:pt x="405" y="55"/>
                    <a:pt x="411" y="51"/>
                  </a:cubicBezTo>
                  <a:cubicBezTo>
                    <a:pt x="422" y="46"/>
                    <a:pt x="424" y="46"/>
                    <a:pt x="433" y="51"/>
                  </a:cubicBezTo>
                  <a:cubicBezTo>
                    <a:pt x="441" y="56"/>
                    <a:pt x="446" y="57"/>
                    <a:pt x="463" y="53"/>
                  </a:cubicBezTo>
                  <a:cubicBezTo>
                    <a:pt x="494" y="46"/>
                    <a:pt x="495" y="47"/>
                    <a:pt x="495" y="98"/>
                  </a:cubicBezTo>
                  <a:cubicBezTo>
                    <a:pt x="495" y="142"/>
                    <a:pt x="495" y="142"/>
                    <a:pt x="495" y="142"/>
                  </a:cubicBezTo>
                  <a:cubicBezTo>
                    <a:pt x="482" y="152"/>
                    <a:pt x="482" y="152"/>
                    <a:pt x="482" y="152"/>
                  </a:cubicBezTo>
                  <a:cubicBezTo>
                    <a:pt x="476" y="158"/>
                    <a:pt x="468" y="167"/>
                    <a:pt x="465" y="173"/>
                  </a:cubicBezTo>
                  <a:cubicBezTo>
                    <a:pt x="457" y="188"/>
                    <a:pt x="440" y="206"/>
                    <a:pt x="433" y="206"/>
                  </a:cubicBezTo>
                  <a:cubicBezTo>
                    <a:pt x="430" y="206"/>
                    <a:pt x="426" y="210"/>
                    <a:pt x="425" y="216"/>
                  </a:cubicBezTo>
                  <a:cubicBezTo>
                    <a:pt x="422" y="227"/>
                    <a:pt x="401" y="250"/>
                    <a:pt x="394" y="250"/>
                  </a:cubicBezTo>
                  <a:cubicBezTo>
                    <a:pt x="392" y="250"/>
                    <a:pt x="391" y="251"/>
                    <a:pt x="391" y="254"/>
                  </a:cubicBezTo>
                  <a:cubicBezTo>
                    <a:pt x="391" y="256"/>
                    <a:pt x="387" y="258"/>
                    <a:pt x="383" y="258"/>
                  </a:cubicBezTo>
                  <a:cubicBezTo>
                    <a:pt x="378" y="258"/>
                    <a:pt x="375" y="260"/>
                    <a:pt x="375" y="264"/>
                  </a:cubicBezTo>
                  <a:cubicBezTo>
                    <a:pt x="375" y="268"/>
                    <a:pt x="372" y="269"/>
                    <a:pt x="367" y="268"/>
                  </a:cubicBezTo>
                  <a:cubicBezTo>
                    <a:pt x="362" y="266"/>
                    <a:pt x="359" y="267"/>
                    <a:pt x="359" y="269"/>
                  </a:cubicBezTo>
                  <a:cubicBezTo>
                    <a:pt x="359" y="276"/>
                    <a:pt x="344" y="282"/>
                    <a:pt x="334" y="278"/>
                  </a:cubicBezTo>
                  <a:cubicBezTo>
                    <a:pt x="327" y="275"/>
                    <a:pt x="326" y="275"/>
                    <a:pt x="332" y="270"/>
                  </a:cubicBezTo>
                  <a:cubicBezTo>
                    <a:pt x="341" y="262"/>
                    <a:pt x="340" y="256"/>
                    <a:pt x="331" y="261"/>
                  </a:cubicBezTo>
                  <a:cubicBezTo>
                    <a:pt x="324" y="265"/>
                    <a:pt x="322" y="264"/>
                    <a:pt x="319" y="258"/>
                  </a:cubicBezTo>
                  <a:cubicBezTo>
                    <a:pt x="316" y="253"/>
                    <a:pt x="312" y="250"/>
                    <a:pt x="310" y="250"/>
                  </a:cubicBezTo>
                  <a:cubicBezTo>
                    <a:pt x="308" y="250"/>
                    <a:pt x="308" y="252"/>
                    <a:pt x="311" y="258"/>
                  </a:cubicBezTo>
                  <a:cubicBezTo>
                    <a:pt x="313" y="262"/>
                    <a:pt x="314" y="266"/>
                    <a:pt x="313" y="266"/>
                  </a:cubicBezTo>
                  <a:cubicBezTo>
                    <a:pt x="311" y="266"/>
                    <a:pt x="309" y="267"/>
                    <a:pt x="307" y="267"/>
                  </a:cubicBezTo>
                  <a:cubicBezTo>
                    <a:pt x="299" y="268"/>
                    <a:pt x="287" y="289"/>
                    <a:pt x="287" y="301"/>
                  </a:cubicBezTo>
                  <a:cubicBezTo>
                    <a:pt x="287" y="309"/>
                    <a:pt x="284" y="315"/>
                    <a:pt x="280" y="316"/>
                  </a:cubicBezTo>
                  <a:cubicBezTo>
                    <a:pt x="277" y="317"/>
                    <a:pt x="275" y="321"/>
                    <a:pt x="276" y="324"/>
                  </a:cubicBezTo>
                  <a:cubicBezTo>
                    <a:pt x="278" y="330"/>
                    <a:pt x="246" y="358"/>
                    <a:pt x="238" y="357"/>
                  </a:cubicBezTo>
                  <a:cubicBezTo>
                    <a:pt x="235" y="357"/>
                    <a:pt x="230" y="356"/>
                    <a:pt x="227" y="355"/>
                  </a:cubicBezTo>
                  <a:close/>
                </a:path>
              </a:pathLst>
            </a:custGeom>
            <a:solidFill>
              <a:srgbClr val="C5C5C5"/>
            </a:solidFill>
            <a:ln w="33338" cap="flat">
              <a:solidFill>
                <a:srgbClr val="C5C5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74" name="Freeform 28"/>
            <p:cNvSpPr>
              <a:spLocks/>
            </p:cNvSpPr>
            <p:nvPr userDrawn="1"/>
          </p:nvSpPr>
          <p:spPr bwMode="grayWhite">
            <a:xfrm>
              <a:off x="11807825" y="1363663"/>
              <a:ext cx="249238" cy="323850"/>
            </a:xfrm>
            <a:custGeom>
              <a:avLst/>
              <a:gdLst>
                <a:gd name="T0" fmla="*/ 72 w 91"/>
                <a:gd name="T1" fmla="*/ 99 h 117"/>
                <a:gd name="T2" fmla="*/ 56 w 91"/>
                <a:gd name="T3" fmla="*/ 70 h 117"/>
                <a:gd name="T4" fmla="*/ 15 w 91"/>
                <a:gd name="T5" fmla="*/ 37 h 117"/>
                <a:gd name="T6" fmla="*/ 0 w 91"/>
                <a:gd name="T7" fmla="*/ 22 h 117"/>
                <a:gd name="T8" fmla="*/ 9 w 91"/>
                <a:gd name="T9" fmla="*/ 11 h 117"/>
                <a:gd name="T10" fmla="*/ 18 w 91"/>
                <a:gd name="T11" fmla="*/ 0 h 117"/>
                <a:gd name="T12" fmla="*/ 32 w 91"/>
                <a:gd name="T13" fmla="*/ 7 h 117"/>
                <a:gd name="T14" fmla="*/ 57 w 91"/>
                <a:gd name="T15" fmla="*/ 30 h 117"/>
                <a:gd name="T16" fmla="*/ 79 w 91"/>
                <a:gd name="T17" fmla="*/ 55 h 117"/>
                <a:gd name="T18" fmla="*/ 91 w 91"/>
                <a:gd name="T19" fmla="*/ 64 h 117"/>
                <a:gd name="T20" fmla="*/ 85 w 91"/>
                <a:gd name="T21" fmla="*/ 89 h 117"/>
                <a:gd name="T22" fmla="*/ 77 w 91"/>
                <a:gd name="T23" fmla="*/ 116 h 117"/>
                <a:gd name="T24" fmla="*/ 72 w 91"/>
                <a:gd name="T25" fmla="*/ 9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1" h="117">
                  <a:moveTo>
                    <a:pt x="72" y="99"/>
                  </a:moveTo>
                  <a:cubicBezTo>
                    <a:pt x="69" y="78"/>
                    <a:pt x="65" y="70"/>
                    <a:pt x="56" y="70"/>
                  </a:cubicBezTo>
                  <a:cubicBezTo>
                    <a:pt x="51" y="70"/>
                    <a:pt x="37" y="59"/>
                    <a:pt x="15" y="37"/>
                  </a:cubicBezTo>
                  <a:cubicBezTo>
                    <a:pt x="0" y="22"/>
                    <a:pt x="0" y="22"/>
                    <a:pt x="0" y="22"/>
                  </a:cubicBezTo>
                  <a:cubicBezTo>
                    <a:pt x="9" y="11"/>
                    <a:pt x="9" y="11"/>
                    <a:pt x="9" y="11"/>
                  </a:cubicBezTo>
                  <a:cubicBezTo>
                    <a:pt x="18" y="0"/>
                    <a:pt x="18" y="0"/>
                    <a:pt x="18" y="0"/>
                  </a:cubicBezTo>
                  <a:cubicBezTo>
                    <a:pt x="32" y="7"/>
                    <a:pt x="32" y="7"/>
                    <a:pt x="32" y="7"/>
                  </a:cubicBezTo>
                  <a:cubicBezTo>
                    <a:pt x="40" y="11"/>
                    <a:pt x="51" y="22"/>
                    <a:pt x="57" y="30"/>
                  </a:cubicBezTo>
                  <a:cubicBezTo>
                    <a:pt x="63" y="39"/>
                    <a:pt x="73" y="50"/>
                    <a:pt x="79" y="55"/>
                  </a:cubicBezTo>
                  <a:cubicBezTo>
                    <a:pt x="91" y="64"/>
                    <a:pt x="91" y="64"/>
                    <a:pt x="91" y="64"/>
                  </a:cubicBezTo>
                  <a:cubicBezTo>
                    <a:pt x="85" y="89"/>
                    <a:pt x="85" y="89"/>
                    <a:pt x="85" y="89"/>
                  </a:cubicBezTo>
                  <a:cubicBezTo>
                    <a:pt x="82" y="103"/>
                    <a:pt x="78" y="115"/>
                    <a:pt x="77" y="116"/>
                  </a:cubicBezTo>
                  <a:cubicBezTo>
                    <a:pt x="76" y="117"/>
                    <a:pt x="74" y="110"/>
                    <a:pt x="72" y="99"/>
                  </a:cubicBezTo>
                  <a:close/>
                </a:path>
              </a:pathLst>
            </a:custGeom>
            <a:solidFill>
              <a:srgbClr val="C5C5C5"/>
            </a:solidFill>
            <a:ln w="33338" cap="flat">
              <a:solidFill>
                <a:srgbClr val="C5C5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75" name="Freeform 29"/>
            <p:cNvSpPr>
              <a:spLocks/>
            </p:cNvSpPr>
            <p:nvPr userDrawn="1"/>
          </p:nvSpPr>
          <p:spPr bwMode="grayWhite">
            <a:xfrm>
              <a:off x="11055350" y="1444625"/>
              <a:ext cx="385763" cy="271463"/>
            </a:xfrm>
            <a:custGeom>
              <a:avLst/>
              <a:gdLst>
                <a:gd name="T0" fmla="*/ 10 w 141"/>
                <a:gd name="T1" fmla="*/ 93 h 98"/>
                <a:gd name="T2" fmla="*/ 0 w 141"/>
                <a:gd name="T3" fmla="*/ 74 h 98"/>
                <a:gd name="T4" fmla="*/ 9 w 141"/>
                <a:gd name="T5" fmla="*/ 55 h 98"/>
                <a:gd name="T6" fmla="*/ 20 w 141"/>
                <a:gd name="T7" fmla="*/ 43 h 98"/>
                <a:gd name="T8" fmla="*/ 39 w 141"/>
                <a:gd name="T9" fmla="*/ 27 h 98"/>
                <a:gd name="T10" fmla="*/ 49 w 141"/>
                <a:gd name="T11" fmla="*/ 22 h 98"/>
                <a:gd name="T12" fmla="*/ 56 w 141"/>
                <a:gd name="T13" fmla="*/ 20 h 98"/>
                <a:gd name="T14" fmla="*/ 70 w 141"/>
                <a:gd name="T15" fmla="*/ 21 h 98"/>
                <a:gd name="T16" fmla="*/ 86 w 141"/>
                <a:gd name="T17" fmla="*/ 9 h 98"/>
                <a:gd name="T18" fmla="*/ 122 w 141"/>
                <a:gd name="T19" fmla="*/ 3 h 98"/>
                <a:gd name="T20" fmla="*/ 141 w 141"/>
                <a:gd name="T21" fmla="*/ 5 h 98"/>
                <a:gd name="T22" fmla="*/ 137 w 141"/>
                <a:gd name="T23" fmla="*/ 21 h 98"/>
                <a:gd name="T24" fmla="*/ 123 w 141"/>
                <a:gd name="T25" fmla="*/ 32 h 98"/>
                <a:gd name="T26" fmla="*/ 76 w 141"/>
                <a:gd name="T27" fmla="*/ 53 h 98"/>
                <a:gd name="T28" fmla="*/ 57 w 141"/>
                <a:gd name="T29" fmla="*/ 68 h 98"/>
                <a:gd name="T30" fmla="*/ 38 w 141"/>
                <a:gd name="T31" fmla="*/ 86 h 98"/>
                <a:gd name="T32" fmla="*/ 10 w 141"/>
                <a:gd name="T33" fmla="*/ 9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1" h="98">
                  <a:moveTo>
                    <a:pt x="10" y="93"/>
                  </a:moveTo>
                  <a:cubicBezTo>
                    <a:pt x="1" y="91"/>
                    <a:pt x="0" y="88"/>
                    <a:pt x="0" y="74"/>
                  </a:cubicBezTo>
                  <a:cubicBezTo>
                    <a:pt x="0" y="62"/>
                    <a:pt x="1" y="58"/>
                    <a:pt x="9" y="55"/>
                  </a:cubicBezTo>
                  <a:cubicBezTo>
                    <a:pt x="14" y="52"/>
                    <a:pt x="19" y="47"/>
                    <a:pt x="20" y="43"/>
                  </a:cubicBezTo>
                  <a:cubicBezTo>
                    <a:pt x="23" y="33"/>
                    <a:pt x="34" y="24"/>
                    <a:pt x="39" y="27"/>
                  </a:cubicBezTo>
                  <a:cubicBezTo>
                    <a:pt x="41" y="29"/>
                    <a:pt x="45" y="26"/>
                    <a:pt x="49" y="22"/>
                  </a:cubicBezTo>
                  <a:cubicBezTo>
                    <a:pt x="53" y="17"/>
                    <a:pt x="55" y="16"/>
                    <a:pt x="56" y="20"/>
                  </a:cubicBezTo>
                  <a:cubicBezTo>
                    <a:pt x="58" y="25"/>
                    <a:pt x="70" y="26"/>
                    <a:pt x="70" y="21"/>
                  </a:cubicBezTo>
                  <a:cubicBezTo>
                    <a:pt x="70" y="19"/>
                    <a:pt x="77" y="13"/>
                    <a:pt x="86" y="9"/>
                  </a:cubicBezTo>
                  <a:cubicBezTo>
                    <a:pt x="99" y="2"/>
                    <a:pt x="107" y="0"/>
                    <a:pt x="122" y="3"/>
                  </a:cubicBezTo>
                  <a:cubicBezTo>
                    <a:pt x="141" y="5"/>
                    <a:pt x="141" y="5"/>
                    <a:pt x="141" y="5"/>
                  </a:cubicBezTo>
                  <a:cubicBezTo>
                    <a:pt x="137" y="21"/>
                    <a:pt x="137" y="21"/>
                    <a:pt x="137" y="21"/>
                  </a:cubicBezTo>
                  <a:cubicBezTo>
                    <a:pt x="133" y="35"/>
                    <a:pt x="132" y="36"/>
                    <a:pt x="123" y="32"/>
                  </a:cubicBezTo>
                  <a:cubicBezTo>
                    <a:pt x="111" y="28"/>
                    <a:pt x="86" y="39"/>
                    <a:pt x="76" y="53"/>
                  </a:cubicBezTo>
                  <a:cubicBezTo>
                    <a:pt x="73" y="57"/>
                    <a:pt x="64" y="64"/>
                    <a:pt x="57" y="68"/>
                  </a:cubicBezTo>
                  <a:cubicBezTo>
                    <a:pt x="50" y="72"/>
                    <a:pt x="41" y="80"/>
                    <a:pt x="38" y="86"/>
                  </a:cubicBezTo>
                  <a:cubicBezTo>
                    <a:pt x="33" y="97"/>
                    <a:pt x="28" y="98"/>
                    <a:pt x="10" y="93"/>
                  </a:cubicBezTo>
                  <a:close/>
                </a:path>
              </a:pathLst>
            </a:custGeom>
            <a:solidFill>
              <a:srgbClr val="C5C5C5"/>
            </a:solidFill>
            <a:ln w="33338" cap="flat">
              <a:solidFill>
                <a:srgbClr val="C5C5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76" name="Freeform 30"/>
            <p:cNvSpPr>
              <a:spLocks/>
            </p:cNvSpPr>
            <p:nvPr userDrawn="1"/>
          </p:nvSpPr>
          <p:spPr bwMode="grayWhite">
            <a:xfrm>
              <a:off x="11010900" y="1531938"/>
              <a:ext cx="487363" cy="425450"/>
            </a:xfrm>
            <a:custGeom>
              <a:avLst/>
              <a:gdLst>
                <a:gd name="T0" fmla="*/ 48 w 178"/>
                <a:gd name="T1" fmla="*/ 148 h 153"/>
                <a:gd name="T2" fmla="*/ 5 w 178"/>
                <a:gd name="T3" fmla="*/ 119 h 153"/>
                <a:gd name="T4" fmla="*/ 7 w 178"/>
                <a:gd name="T5" fmla="*/ 106 h 153"/>
                <a:gd name="T6" fmla="*/ 6 w 178"/>
                <a:gd name="T7" fmla="*/ 88 h 153"/>
                <a:gd name="T8" fmla="*/ 7 w 178"/>
                <a:gd name="T9" fmla="*/ 79 h 153"/>
                <a:gd name="T10" fmla="*/ 17 w 178"/>
                <a:gd name="T11" fmla="*/ 73 h 153"/>
                <a:gd name="T12" fmla="*/ 35 w 178"/>
                <a:gd name="T13" fmla="*/ 66 h 153"/>
                <a:gd name="T14" fmla="*/ 58 w 178"/>
                <a:gd name="T15" fmla="*/ 55 h 153"/>
                <a:gd name="T16" fmla="*/ 75 w 178"/>
                <a:gd name="T17" fmla="*/ 39 h 153"/>
                <a:gd name="T18" fmla="*/ 94 w 178"/>
                <a:gd name="T19" fmla="*/ 24 h 153"/>
                <a:gd name="T20" fmla="*/ 139 w 178"/>
                <a:gd name="T21" fmla="*/ 4 h 153"/>
                <a:gd name="T22" fmla="*/ 150 w 178"/>
                <a:gd name="T23" fmla="*/ 6 h 153"/>
                <a:gd name="T24" fmla="*/ 163 w 178"/>
                <a:gd name="T25" fmla="*/ 11 h 153"/>
                <a:gd name="T26" fmla="*/ 177 w 178"/>
                <a:gd name="T27" fmla="*/ 19 h 153"/>
                <a:gd name="T28" fmla="*/ 169 w 178"/>
                <a:gd name="T29" fmla="*/ 35 h 153"/>
                <a:gd name="T30" fmla="*/ 159 w 178"/>
                <a:gd name="T31" fmla="*/ 61 h 153"/>
                <a:gd name="T32" fmla="*/ 143 w 178"/>
                <a:gd name="T33" fmla="*/ 108 h 153"/>
                <a:gd name="T34" fmla="*/ 126 w 178"/>
                <a:gd name="T35" fmla="*/ 113 h 153"/>
                <a:gd name="T36" fmla="*/ 115 w 178"/>
                <a:gd name="T37" fmla="*/ 117 h 153"/>
                <a:gd name="T38" fmla="*/ 62 w 178"/>
                <a:gd name="T39" fmla="*/ 152 h 153"/>
                <a:gd name="T40" fmla="*/ 48 w 178"/>
                <a:gd name="T41" fmla="*/ 148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8" h="153">
                  <a:moveTo>
                    <a:pt x="48" y="148"/>
                  </a:moveTo>
                  <a:cubicBezTo>
                    <a:pt x="35" y="143"/>
                    <a:pt x="10" y="126"/>
                    <a:pt x="5" y="119"/>
                  </a:cubicBezTo>
                  <a:cubicBezTo>
                    <a:pt x="3" y="117"/>
                    <a:pt x="4" y="111"/>
                    <a:pt x="7" y="106"/>
                  </a:cubicBezTo>
                  <a:cubicBezTo>
                    <a:pt x="10" y="98"/>
                    <a:pt x="10" y="94"/>
                    <a:pt x="6" y="88"/>
                  </a:cubicBezTo>
                  <a:cubicBezTo>
                    <a:pt x="0" y="78"/>
                    <a:pt x="0" y="76"/>
                    <a:pt x="7" y="79"/>
                  </a:cubicBezTo>
                  <a:cubicBezTo>
                    <a:pt x="10" y="80"/>
                    <a:pt x="15" y="78"/>
                    <a:pt x="17" y="73"/>
                  </a:cubicBezTo>
                  <a:cubicBezTo>
                    <a:pt x="21" y="66"/>
                    <a:pt x="24" y="65"/>
                    <a:pt x="35" y="66"/>
                  </a:cubicBezTo>
                  <a:cubicBezTo>
                    <a:pt x="49" y="69"/>
                    <a:pt x="56" y="66"/>
                    <a:pt x="58" y="55"/>
                  </a:cubicBezTo>
                  <a:cubicBezTo>
                    <a:pt x="59" y="51"/>
                    <a:pt x="66" y="44"/>
                    <a:pt x="75" y="39"/>
                  </a:cubicBezTo>
                  <a:cubicBezTo>
                    <a:pt x="83" y="35"/>
                    <a:pt x="92" y="28"/>
                    <a:pt x="94" y="24"/>
                  </a:cubicBezTo>
                  <a:cubicBezTo>
                    <a:pt x="100" y="11"/>
                    <a:pt x="127" y="0"/>
                    <a:pt x="139" y="4"/>
                  </a:cubicBezTo>
                  <a:cubicBezTo>
                    <a:pt x="145" y="7"/>
                    <a:pt x="150" y="7"/>
                    <a:pt x="150" y="6"/>
                  </a:cubicBezTo>
                  <a:cubicBezTo>
                    <a:pt x="150" y="5"/>
                    <a:pt x="155" y="7"/>
                    <a:pt x="163" y="11"/>
                  </a:cubicBezTo>
                  <a:cubicBezTo>
                    <a:pt x="170" y="15"/>
                    <a:pt x="176" y="19"/>
                    <a:pt x="177" y="19"/>
                  </a:cubicBezTo>
                  <a:cubicBezTo>
                    <a:pt x="178" y="20"/>
                    <a:pt x="174" y="27"/>
                    <a:pt x="169" y="35"/>
                  </a:cubicBezTo>
                  <a:cubicBezTo>
                    <a:pt x="164" y="44"/>
                    <a:pt x="160" y="55"/>
                    <a:pt x="159" y="61"/>
                  </a:cubicBezTo>
                  <a:cubicBezTo>
                    <a:pt x="155" y="96"/>
                    <a:pt x="152" y="104"/>
                    <a:pt x="143" y="108"/>
                  </a:cubicBezTo>
                  <a:cubicBezTo>
                    <a:pt x="138" y="111"/>
                    <a:pt x="130" y="113"/>
                    <a:pt x="126" y="113"/>
                  </a:cubicBezTo>
                  <a:cubicBezTo>
                    <a:pt x="121" y="113"/>
                    <a:pt x="117" y="114"/>
                    <a:pt x="115" y="117"/>
                  </a:cubicBezTo>
                  <a:cubicBezTo>
                    <a:pt x="112" y="122"/>
                    <a:pt x="66" y="153"/>
                    <a:pt x="62" y="152"/>
                  </a:cubicBezTo>
                  <a:cubicBezTo>
                    <a:pt x="61" y="152"/>
                    <a:pt x="54" y="150"/>
                    <a:pt x="48" y="148"/>
                  </a:cubicBezTo>
                  <a:close/>
                </a:path>
              </a:pathLst>
            </a:custGeom>
            <a:solidFill>
              <a:srgbClr val="C5C5C5"/>
            </a:solidFill>
            <a:ln w="33338" cap="flat">
              <a:solidFill>
                <a:srgbClr val="C5C5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77" name="Freeform 31"/>
            <p:cNvSpPr>
              <a:spLocks/>
            </p:cNvSpPr>
            <p:nvPr userDrawn="1"/>
          </p:nvSpPr>
          <p:spPr bwMode="grayWhite">
            <a:xfrm>
              <a:off x="11342688" y="1423988"/>
              <a:ext cx="833438" cy="649288"/>
            </a:xfrm>
            <a:custGeom>
              <a:avLst/>
              <a:gdLst>
                <a:gd name="T0" fmla="*/ 116 w 304"/>
                <a:gd name="T1" fmla="*/ 229 h 234"/>
                <a:gd name="T2" fmla="*/ 109 w 304"/>
                <a:gd name="T3" fmla="*/ 219 h 234"/>
                <a:gd name="T4" fmla="*/ 104 w 304"/>
                <a:gd name="T5" fmla="*/ 209 h 234"/>
                <a:gd name="T6" fmla="*/ 104 w 304"/>
                <a:gd name="T7" fmla="*/ 202 h 234"/>
                <a:gd name="T8" fmla="*/ 98 w 304"/>
                <a:gd name="T9" fmla="*/ 194 h 234"/>
                <a:gd name="T10" fmla="*/ 85 w 304"/>
                <a:gd name="T11" fmla="*/ 196 h 234"/>
                <a:gd name="T12" fmla="*/ 58 w 304"/>
                <a:gd name="T13" fmla="*/ 192 h 234"/>
                <a:gd name="T14" fmla="*/ 40 w 304"/>
                <a:gd name="T15" fmla="*/ 181 h 234"/>
                <a:gd name="T16" fmla="*/ 21 w 304"/>
                <a:gd name="T17" fmla="*/ 171 h 234"/>
                <a:gd name="T18" fmla="*/ 7 w 304"/>
                <a:gd name="T19" fmla="*/ 159 h 234"/>
                <a:gd name="T20" fmla="*/ 6 w 304"/>
                <a:gd name="T21" fmla="*/ 156 h 234"/>
                <a:gd name="T22" fmla="*/ 24 w 304"/>
                <a:gd name="T23" fmla="*/ 150 h 234"/>
                <a:gd name="T24" fmla="*/ 42 w 304"/>
                <a:gd name="T25" fmla="*/ 100 h 234"/>
                <a:gd name="T26" fmla="*/ 54 w 304"/>
                <a:gd name="T27" fmla="*/ 71 h 234"/>
                <a:gd name="T28" fmla="*/ 75 w 304"/>
                <a:gd name="T29" fmla="*/ 52 h 234"/>
                <a:gd name="T30" fmla="*/ 94 w 304"/>
                <a:gd name="T31" fmla="*/ 48 h 234"/>
                <a:gd name="T32" fmla="*/ 107 w 304"/>
                <a:gd name="T33" fmla="*/ 48 h 234"/>
                <a:gd name="T34" fmla="*/ 123 w 304"/>
                <a:gd name="T35" fmla="*/ 43 h 234"/>
                <a:gd name="T36" fmla="*/ 141 w 304"/>
                <a:gd name="T37" fmla="*/ 27 h 234"/>
                <a:gd name="T38" fmla="*/ 157 w 304"/>
                <a:gd name="T39" fmla="*/ 14 h 234"/>
                <a:gd name="T40" fmla="*/ 182 w 304"/>
                <a:gd name="T41" fmla="*/ 19 h 234"/>
                <a:gd name="T42" fmla="*/ 192 w 304"/>
                <a:gd name="T43" fmla="*/ 29 h 234"/>
                <a:gd name="T44" fmla="*/ 209 w 304"/>
                <a:gd name="T45" fmla="*/ 41 h 234"/>
                <a:gd name="T46" fmla="*/ 226 w 304"/>
                <a:gd name="T47" fmla="*/ 52 h 234"/>
                <a:gd name="T48" fmla="*/ 238 w 304"/>
                <a:gd name="T49" fmla="*/ 76 h 234"/>
                <a:gd name="T50" fmla="*/ 259 w 304"/>
                <a:gd name="T51" fmla="*/ 106 h 234"/>
                <a:gd name="T52" fmla="*/ 279 w 304"/>
                <a:gd name="T53" fmla="*/ 100 h 234"/>
                <a:gd name="T54" fmla="*/ 302 w 304"/>
                <a:gd name="T55" fmla="*/ 102 h 234"/>
                <a:gd name="T56" fmla="*/ 299 w 304"/>
                <a:gd name="T57" fmla="*/ 119 h 234"/>
                <a:gd name="T58" fmla="*/ 293 w 304"/>
                <a:gd name="T59" fmla="*/ 120 h 234"/>
                <a:gd name="T60" fmla="*/ 289 w 304"/>
                <a:gd name="T61" fmla="*/ 117 h 234"/>
                <a:gd name="T62" fmla="*/ 291 w 304"/>
                <a:gd name="T63" fmla="*/ 159 h 234"/>
                <a:gd name="T64" fmla="*/ 294 w 304"/>
                <a:gd name="T65" fmla="*/ 176 h 234"/>
                <a:gd name="T66" fmla="*/ 283 w 304"/>
                <a:gd name="T67" fmla="*/ 172 h 234"/>
                <a:gd name="T68" fmla="*/ 264 w 304"/>
                <a:gd name="T69" fmla="*/ 171 h 234"/>
                <a:gd name="T70" fmla="*/ 252 w 304"/>
                <a:gd name="T71" fmla="*/ 174 h 234"/>
                <a:gd name="T72" fmla="*/ 214 w 304"/>
                <a:gd name="T73" fmla="*/ 200 h 234"/>
                <a:gd name="T74" fmla="*/ 116 w 304"/>
                <a:gd name="T75" fmla="*/ 229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4" h="234">
                  <a:moveTo>
                    <a:pt x="116" y="229"/>
                  </a:moveTo>
                  <a:cubicBezTo>
                    <a:pt x="112" y="228"/>
                    <a:pt x="109" y="224"/>
                    <a:pt x="109" y="219"/>
                  </a:cubicBezTo>
                  <a:cubicBezTo>
                    <a:pt x="109" y="215"/>
                    <a:pt x="107" y="211"/>
                    <a:pt x="104" y="209"/>
                  </a:cubicBezTo>
                  <a:cubicBezTo>
                    <a:pt x="101" y="208"/>
                    <a:pt x="101" y="205"/>
                    <a:pt x="104" y="202"/>
                  </a:cubicBezTo>
                  <a:cubicBezTo>
                    <a:pt x="108" y="198"/>
                    <a:pt x="106" y="196"/>
                    <a:pt x="98" y="194"/>
                  </a:cubicBezTo>
                  <a:cubicBezTo>
                    <a:pt x="92" y="193"/>
                    <a:pt x="86" y="194"/>
                    <a:pt x="85" y="196"/>
                  </a:cubicBezTo>
                  <a:cubicBezTo>
                    <a:pt x="83" y="203"/>
                    <a:pt x="63" y="200"/>
                    <a:pt x="58" y="192"/>
                  </a:cubicBezTo>
                  <a:cubicBezTo>
                    <a:pt x="55" y="188"/>
                    <a:pt x="47" y="183"/>
                    <a:pt x="40" y="181"/>
                  </a:cubicBezTo>
                  <a:cubicBezTo>
                    <a:pt x="32" y="180"/>
                    <a:pt x="24" y="175"/>
                    <a:pt x="21" y="171"/>
                  </a:cubicBezTo>
                  <a:cubicBezTo>
                    <a:pt x="18" y="166"/>
                    <a:pt x="12" y="161"/>
                    <a:pt x="7" y="159"/>
                  </a:cubicBezTo>
                  <a:cubicBezTo>
                    <a:pt x="0" y="157"/>
                    <a:pt x="0" y="156"/>
                    <a:pt x="6" y="156"/>
                  </a:cubicBezTo>
                  <a:cubicBezTo>
                    <a:pt x="10" y="156"/>
                    <a:pt x="18" y="153"/>
                    <a:pt x="24" y="150"/>
                  </a:cubicBezTo>
                  <a:cubicBezTo>
                    <a:pt x="35" y="144"/>
                    <a:pt x="37" y="138"/>
                    <a:pt x="42" y="100"/>
                  </a:cubicBezTo>
                  <a:cubicBezTo>
                    <a:pt x="43" y="94"/>
                    <a:pt x="48" y="81"/>
                    <a:pt x="54" y="71"/>
                  </a:cubicBezTo>
                  <a:cubicBezTo>
                    <a:pt x="62" y="56"/>
                    <a:pt x="68" y="52"/>
                    <a:pt x="75" y="52"/>
                  </a:cubicBezTo>
                  <a:cubicBezTo>
                    <a:pt x="80" y="52"/>
                    <a:pt x="89" y="50"/>
                    <a:pt x="94" y="48"/>
                  </a:cubicBezTo>
                  <a:cubicBezTo>
                    <a:pt x="101" y="45"/>
                    <a:pt x="105" y="45"/>
                    <a:pt x="107" y="48"/>
                  </a:cubicBezTo>
                  <a:cubicBezTo>
                    <a:pt x="111" y="54"/>
                    <a:pt x="120" y="52"/>
                    <a:pt x="123" y="43"/>
                  </a:cubicBezTo>
                  <a:cubicBezTo>
                    <a:pt x="124" y="39"/>
                    <a:pt x="132" y="32"/>
                    <a:pt x="141" y="27"/>
                  </a:cubicBezTo>
                  <a:cubicBezTo>
                    <a:pt x="149" y="23"/>
                    <a:pt x="157" y="17"/>
                    <a:pt x="157" y="14"/>
                  </a:cubicBezTo>
                  <a:cubicBezTo>
                    <a:pt x="157" y="0"/>
                    <a:pt x="178" y="4"/>
                    <a:pt x="182" y="19"/>
                  </a:cubicBezTo>
                  <a:cubicBezTo>
                    <a:pt x="184" y="24"/>
                    <a:pt x="188" y="28"/>
                    <a:pt x="192" y="29"/>
                  </a:cubicBezTo>
                  <a:cubicBezTo>
                    <a:pt x="196" y="31"/>
                    <a:pt x="204" y="36"/>
                    <a:pt x="209" y="41"/>
                  </a:cubicBezTo>
                  <a:cubicBezTo>
                    <a:pt x="214" y="46"/>
                    <a:pt x="222" y="51"/>
                    <a:pt x="226" y="52"/>
                  </a:cubicBezTo>
                  <a:cubicBezTo>
                    <a:pt x="232" y="53"/>
                    <a:pt x="235" y="59"/>
                    <a:pt x="238" y="76"/>
                  </a:cubicBezTo>
                  <a:cubicBezTo>
                    <a:pt x="244" y="103"/>
                    <a:pt x="244" y="103"/>
                    <a:pt x="259" y="106"/>
                  </a:cubicBezTo>
                  <a:cubicBezTo>
                    <a:pt x="267" y="107"/>
                    <a:pt x="273" y="106"/>
                    <a:pt x="279" y="100"/>
                  </a:cubicBezTo>
                  <a:cubicBezTo>
                    <a:pt x="291" y="89"/>
                    <a:pt x="299" y="89"/>
                    <a:pt x="302" y="102"/>
                  </a:cubicBezTo>
                  <a:cubicBezTo>
                    <a:pt x="304" y="109"/>
                    <a:pt x="303" y="115"/>
                    <a:pt x="299" y="119"/>
                  </a:cubicBezTo>
                  <a:cubicBezTo>
                    <a:pt x="294" y="123"/>
                    <a:pt x="293" y="124"/>
                    <a:pt x="293" y="120"/>
                  </a:cubicBezTo>
                  <a:cubicBezTo>
                    <a:pt x="293" y="117"/>
                    <a:pt x="291" y="116"/>
                    <a:pt x="289" y="117"/>
                  </a:cubicBezTo>
                  <a:cubicBezTo>
                    <a:pt x="285" y="119"/>
                    <a:pt x="286" y="132"/>
                    <a:pt x="291" y="159"/>
                  </a:cubicBezTo>
                  <a:cubicBezTo>
                    <a:pt x="294" y="176"/>
                    <a:pt x="294" y="176"/>
                    <a:pt x="294" y="176"/>
                  </a:cubicBezTo>
                  <a:cubicBezTo>
                    <a:pt x="283" y="172"/>
                    <a:pt x="283" y="172"/>
                    <a:pt x="283" y="172"/>
                  </a:cubicBezTo>
                  <a:cubicBezTo>
                    <a:pt x="277" y="169"/>
                    <a:pt x="269" y="169"/>
                    <a:pt x="264" y="171"/>
                  </a:cubicBezTo>
                  <a:cubicBezTo>
                    <a:pt x="259" y="173"/>
                    <a:pt x="253" y="174"/>
                    <a:pt x="252" y="174"/>
                  </a:cubicBezTo>
                  <a:cubicBezTo>
                    <a:pt x="246" y="173"/>
                    <a:pt x="217" y="194"/>
                    <a:pt x="214" y="200"/>
                  </a:cubicBezTo>
                  <a:cubicBezTo>
                    <a:pt x="210" y="213"/>
                    <a:pt x="137" y="234"/>
                    <a:pt x="116" y="229"/>
                  </a:cubicBezTo>
                  <a:close/>
                </a:path>
              </a:pathLst>
            </a:custGeom>
            <a:solidFill>
              <a:srgbClr val="C5C5C5"/>
            </a:solidFill>
            <a:ln w="33338" cap="flat">
              <a:solidFill>
                <a:srgbClr val="C5C5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78" name="Freeform 32"/>
            <p:cNvSpPr>
              <a:spLocks/>
            </p:cNvSpPr>
            <p:nvPr userDrawn="1"/>
          </p:nvSpPr>
          <p:spPr bwMode="grayWhite">
            <a:xfrm>
              <a:off x="11222038" y="1868488"/>
              <a:ext cx="476250" cy="485775"/>
            </a:xfrm>
            <a:custGeom>
              <a:avLst/>
              <a:gdLst>
                <a:gd name="T0" fmla="*/ 105 w 174"/>
                <a:gd name="T1" fmla="*/ 170 h 175"/>
                <a:gd name="T2" fmla="*/ 95 w 174"/>
                <a:gd name="T3" fmla="*/ 157 h 175"/>
                <a:gd name="T4" fmla="*/ 87 w 174"/>
                <a:gd name="T5" fmla="*/ 146 h 175"/>
                <a:gd name="T6" fmla="*/ 80 w 174"/>
                <a:gd name="T7" fmla="*/ 138 h 175"/>
                <a:gd name="T8" fmla="*/ 51 w 174"/>
                <a:gd name="T9" fmla="*/ 122 h 175"/>
                <a:gd name="T10" fmla="*/ 49 w 174"/>
                <a:gd name="T11" fmla="*/ 114 h 175"/>
                <a:gd name="T12" fmla="*/ 47 w 174"/>
                <a:gd name="T13" fmla="*/ 107 h 175"/>
                <a:gd name="T14" fmla="*/ 37 w 174"/>
                <a:gd name="T15" fmla="*/ 91 h 175"/>
                <a:gd name="T16" fmla="*/ 22 w 174"/>
                <a:gd name="T17" fmla="*/ 66 h 175"/>
                <a:gd name="T18" fmla="*/ 12 w 174"/>
                <a:gd name="T19" fmla="*/ 46 h 175"/>
                <a:gd name="T20" fmla="*/ 22 w 174"/>
                <a:gd name="T21" fmla="*/ 12 h 175"/>
                <a:gd name="T22" fmla="*/ 50 w 174"/>
                <a:gd name="T23" fmla="*/ 3 h 175"/>
                <a:gd name="T24" fmla="*/ 64 w 174"/>
                <a:gd name="T25" fmla="*/ 15 h 175"/>
                <a:gd name="T26" fmla="*/ 82 w 174"/>
                <a:gd name="T27" fmla="*/ 25 h 175"/>
                <a:gd name="T28" fmla="*/ 101 w 174"/>
                <a:gd name="T29" fmla="*/ 36 h 175"/>
                <a:gd name="T30" fmla="*/ 119 w 174"/>
                <a:gd name="T31" fmla="*/ 44 h 175"/>
                <a:gd name="T32" fmla="*/ 133 w 174"/>
                <a:gd name="T33" fmla="*/ 40 h 175"/>
                <a:gd name="T34" fmla="*/ 139 w 174"/>
                <a:gd name="T35" fmla="*/ 38 h 175"/>
                <a:gd name="T36" fmla="*/ 143 w 174"/>
                <a:gd name="T37" fmla="*/ 43 h 175"/>
                <a:gd name="T38" fmla="*/ 145 w 174"/>
                <a:gd name="T39" fmla="*/ 50 h 175"/>
                <a:gd name="T40" fmla="*/ 149 w 174"/>
                <a:gd name="T41" fmla="*/ 72 h 175"/>
                <a:gd name="T42" fmla="*/ 161 w 174"/>
                <a:gd name="T43" fmla="*/ 94 h 175"/>
                <a:gd name="T44" fmla="*/ 167 w 174"/>
                <a:gd name="T45" fmla="*/ 116 h 175"/>
                <a:gd name="T46" fmla="*/ 161 w 174"/>
                <a:gd name="T47" fmla="*/ 138 h 175"/>
                <a:gd name="T48" fmla="*/ 140 w 174"/>
                <a:gd name="T49" fmla="*/ 159 h 175"/>
                <a:gd name="T50" fmla="*/ 112 w 174"/>
                <a:gd name="T51" fmla="*/ 172 h 175"/>
                <a:gd name="T52" fmla="*/ 105 w 174"/>
                <a:gd name="T53" fmla="*/ 170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4" h="175">
                  <a:moveTo>
                    <a:pt x="105" y="170"/>
                  </a:moveTo>
                  <a:cubicBezTo>
                    <a:pt x="105" y="166"/>
                    <a:pt x="100" y="161"/>
                    <a:pt x="95" y="157"/>
                  </a:cubicBezTo>
                  <a:cubicBezTo>
                    <a:pt x="89" y="154"/>
                    <a:pt x="86" y="149"/>
                    <a:pt x="87" y="146"/>
                  </a:cubicBezTo>
                  <a:cubicBezTo>
                    <a:pt x="88" y="142"/>
                    <a:pt x="85" y="139"/>
                    <a:pt x="80" y="138"/>
                  </a:cubicBezTo>
                  <a:cubicBezTo>
                    <a:pt x="58" y="131"/>
                    <a:pt x="49" y="127"/>
                    <a:pt x="51" y="122"/>
                  </a:cubicBezTo>
                  <a:cubicBezTo>
                    <a:pt x="52" y="119"/>
                    <a:pt x="51" y="115"/>
                    <a:pt x="49" y="114"/>
                  </a:cubicBezTo>
                  <a:cubicBezTo>
                    <a:pt x="46" y="112"/>
                    <a:pt x="46" y="109"/>
                    <a:pt x="47" y="107"/>
                  </a:cubicBezTo>
                  <a:cubicBezTo>
                    <a:pt x="48" y="105"/>
                    <a:pt x="44" y="98"/>
                    <a:pt x="37" y="91"/>
                  </a:cubicBezTo>
                  <a:cubicBezTo>
                    <a:pt x="31" y="84"/>
                    <a:pt x="24" y="73"/>
                    <a:pt x="22" y="66"/>
                  </a:cubicBezTo>
                  <a:cubicBezTo>
                    <a:pt x="21" y="59"/>
                    <a:pt x="16" y="50"/>
                    <a:pt x="12" y="46"/>
                  </a:cubicBezTo>
                  <a:cubicBezTo>
                    <a:pt x="0" y="35"/>
                    <a:pt x="3" y="26"/>
                    <a:pt x="22" y="12"/>
                  </a:cubicBezTo>
                  <a:cubicBezTo>
                    <a:pt x="37" y="2"/>
                    <a:pt x="42" y="0"/>
                    <a:pt x="50" y="3"/>
                  </a:cubicBezTo>
                  <a:cubicBezTo>
                    <a:pt x="56" y="5"/>
                    <a:pt x="62" y="11"/>
                    <a:pt x="64" y="15"/>
                  </a:cubicBezTo>
                  <a:cubicBezTo>
                    <a:pt x="66" y="19"/>
                    <a:pt x="75" y="24"/>
                    <a:pt x="82" y="25"/>
                  </a:cubicBezTo>
                  <a:cubicBezTo>
                    <a:pt x="90" y="27"/>
                    <a:pt x="98" y="31"/>
                    <a:pt x="101" y="36"/>
                  </a:cubicBezTo>
                  <a:cubicBezTo>
                    <a:pt x="104" y="41"/>
                    <a:pt x="109" y="44"/>
                    <a:pt x="119" y="44"/>
                  </a:cubicBezTo>
                  <a:cubicBezTo>
                    <a:pt x="126" y="44"/>
                    <a:pt x="133" y="42"/>
                    <a:pt x="133" y="40"/>
                  </a:cubicBezTo>
                  <a:cubicBezTo>
                    <a:pt x="133" y="38"/>
                    <a:pt x="135" y="37"/>
                    <a:pt x="139" y="38"/>
                  </a:cubicBezTo>
                  <a:cubicBezTo>
                    <a:pt x="142" y="39"/>
                    <a:pt x="144" y="41"/>
                    <a:pt x="143" y="43"/>
                  </a:cubicBezTo>
                  <a:cubicBezTo>
                    <a:pt x="142" y="44"/>
                    <a:pt x="143" y="47"/>
                    <a:pt x="145" y="50"/>
                  </a:cubicBezTo>
                  <a:cubicBezTo>
                    <a:pt x="147" y="53"/>
                    <a:pt x="149" y="63"/>
                    <a:pt x="149" y="72"/>
                  </a:cubicBezTo>
                  <a:cubicBezTo>
                    <a:pt x="149" y="85"/>
                    <a:pt x="151" y="88"/>
                    <a:pt x="161" y="94"/>
                  </a:cubicBezTo>
                  <a:cubicBezTo>
                    <a:pt x="174" y="101"/>
                    <a:pt x="174" y="102"/>
                    <a:pt x="167" y="116"/>
                  </a:cubicBezTo>
                  <a:cubicBezTo>
                    <a:pt x="163" y="121"/>
                    <a:pt x="161" y="131"/>
                    <a:pt x="161" y="138"/>
                  </a:cubicBezTo>
                  <a:cubicBezTo>
                    <a:pt x="161" y="148"/>
                    <a:pt x="158" y="151"/>
                    <a:pt x="140" y="159"/>
                  </a:cubicBezTo>
                  <a:cubicBezTo>
                    <a:pt x="128" y="165"/>
                    <a:pt x="115" y="170"/>
                    <a:pt x="112" y="172"/>
                  </a:cubicBezTo>
                  <a:cubicBezTo>
                    <a:pt x="106" y="175"/>
                    <a:pt x="105" y="174"/>
                    <a:pt x="105" y="170"/>
                  </a:cubicBezTo>
                  <a:close/>
                </a:path>
              </a:pathLst>
            </a:custGeom>
            <a:solidFill>
              <a:srgbClr val="C5C5C5"/>
            </a:solidFill>
            <a:ln w="33338" cap="flat">
              <a:solidFill>
                <a:srgbClr val="C5C5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79" name="Freeform 33"/>
            <p:cNvSpPr>
              <a:spLocks/>
            </p:cNvSpPr>
            <p:nvPr userDrawn="1"/>
          </p:nvSpPr>
          <p:spPr bwMode="grayWhite">
            <a:xfrm>
              <a:off x="10806113" y="1865313"/>
              <a:ext cx="223838" cy="214313"/>
            </a:xfrm>
            <a:custGeom>
              <a:avLst/>
              <a:gdLst>
                <a:gd name="T0" fmla="*/ 0 w 82"/>
                <a:gd name="T1" fmla="*/ 71 h 77"/>
                <a:gd name="T2" fmla="*/ 1 w 82"/>
                <a:gd name="T3" fmla="*/ 63 h 77"/>
                <a:gd name="T4" fmla="*/ 2 w 82"/>
                <a:gd name="T5" fmla="*/ 43 h 77"/>
                <a:gd name="T6" fmla="*/ 17 w 82"/>
                <a:gd name="T7" fmla="*/ 25 h 77"/>
                <a:gd name="T8" fmla="*/ 37 w 82"/>
                <a:gd name="T9" fmla="*/ 19 h 77"/>
                <a:gd name="T10" fmla="*/ 77 w 82"/>
                <a:gd name="T11" fmla="*/ 3 h 77"/>
                <a:gd name="T12" fmla="*/ 68 w 82"/>
                <a:gd name="T13" fmla="*/ 27 h 77"/>
                <a:gd name="T14" fmla="*/ 61 w 82"/>
                <a:gd name="T15" fmla="*/ 36 h 77"/>
                <a:gd name="T16" fmla="*/ 56 w 82"/>
                <a:gd name="T17" fmla="*/ 56 h 77"/>
                <a:gd name="T18" fmla="*/ 44 w 82"/>
                <a:gd name="T19" fmla="*/ 66 h 77"/>
                <a:gd name="T20" fmla="*/ 33 w 82"/>
                <a:gd name="T21" fmla="*/ 63 h 77"/>
                <a:gd name="T22" fmla="*/ 25 w 82"/>
                <a:gd name="T23" fmla="*/ 66 h 77"/>
                <a:gd name="T24" fmla="*/ 0 w 82"/>
                <a:gd name="T25" fmla="*/ 7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2" h="77">
                  <a:moveTo>
                    <a:pt x="0" y="71"/>
                  </a:moveTo>
                  <a:cubicBezTo>
                    <a:pt x="0" y="69"/>
                    <a:pt x="0" y="65"/>
                    <a:pt x="1" y="63"/>
                  </a:cubicBezTo>
                  <a:cubicBezTo>
                    <a:pt x="2" y="60"/>
                    <a:pt x="2" y="51"/>
                    <a:pt x="2" y="43"/>
                  </a:cubicBezTo>
                  <a:cubicBezTo>
                    <a:pt x="3" y="27"/>
                    <a:pt x="3" y="26"/>
                    <a:pt x="17" y="25"/>
                  </a:cubicBezTo>
                  <a:cubicBezTo>
                    <a:pt x="24" y="24"/>
                    <a:pt x="33" y="22"/>
                    <a:pt x="37" y="19"/>
                  </a:cubicBezTo>
                  <a:cubicBezTo>
                    <a:pt x="47" y="10"/>
                    <a:pt x="73" y="0"/>
                    <a:pt x="77" y="3"/>
                  </a:cubicBezTo>
                  <a:cubicBezTo>
                    <a:pt x="82" y="9"/>
                    <a:pt x="76" y="24"/>
                    <a:pt x="68" y="27"/>
                  </a:cubicBezTo>
                  <a:cubicBezTo>
                    <a:pt x="64" y="28"/>
                    <a:pt x="61" y="32"/>
                    <a:pt x="61" y="36"/>
                  </a:cubicBezTo>
                  <a:cubicBezTo>
                    <a:pt x="61" y="40"/>
                    <a:pt x="59" y="49"/>
                    <a:pt x="56" y="56"/>
                  </a:cubicBezTo>
                  <a:cubicBezTo>
                    <a:pt x="53" y="65"/>
                    <a:pt x="50" y="68"/>
                    <a:pt x="44" y="66"/>
                  </a:cubicBezTo>
                  <a:cubicBezTo>
                    <a:pt x="39" y="65"/>
                    <a:pt x="34" y="64"/>
                    <a:pt x="33" y="63"/>
                  </a:cubicBezTo>
                  <a:cubicBezTo>
                    <a:pt x="32" y="61"/>
                    <a:pt x="28" y="63"/>
                    <a:pt x="25" y="66"/>
                  </a:cubicBezTo>
                  <a:cubicBezTo>
                    <a:pt x="16" y="74"/>
                    <a:pt x="1" y="77"/>
                    <a:pt x="0" y="71"/>
                  </a:cubicBezTo>
                  <a:close/>
                </a:path>
              </a:pathLst>
            </a:custGeom>
            <a:solidFill>
              <a:srgbClr val="C5C5C5"/>
            </a:solidFill>
            <a:ln w="33338" cap="flat">
              <a:solidFill>
                <a:srgbClr val="C5C5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80" name="Freeform 34"/>
            <p:cNvSpPr>
              <a:spLocks noEditPoints="1"/>
            </p:cNvSpPr>
            <p:nvPr userDrawn="1"/>
          </p:nvSpPr>
          <p:spPr bwMode="grayWhite">
            <a:xfrm>
              <a:off x="10814050" y="1893888"/>
              <a:ext cx="471488" cy="446088"/>
            </a:xfrm>
            <a:custGeom>
              <a:avLst/>
              <a:gdLst>
                <a:gd name="T0" fmla="*/ 156 w 172"/>
                <a:gd name="T1" fmla="*/ 156 h 161"/>
                <a:gd name="T2" fmla="*/ 144 w 172"/>
                <a:gd name="T3" fmla="*/ 150 h 161"/>
                <a:gd name="T4" fmla="*/ 156 w 172"/>
                <a:gd name="T5" fmla="*/ 153 h 161"/>
                <a:gd name="T6" fmla="*/ 169 w 172"/>
                <a:gd name="T7" fmla="*/ 160 h 161"/>
                <a:gd name="T8" fmla="*/ 156 w 172"/>
                <a:gd name="T9" fmla="*/ 156 h 161"/>
                <a:gd name="T10" fmla="*/ 89 w 172"/>
                <a:gd name="T11" fmla="*/ 132 h 161"/>
                <a:gd name="T12" fmla="*/ 73 w 172"/>
                <a:gd name="T13" fmla="*/ 122 h 161"/>
                <a:gd name="T14" fmla="*/ 67 w 172"/>
                <a:gd name="T15" fmla="*/ 112 h 161"/>
                <a:gd name="T16" fmla="*/ 64 w 172"/>
                <a:gd name="T17" fmla="*/ 103 h 161"/>
                <a:gd name="T18" fmla="*/ 45 w 172"/>
                <a:gd name="T19" fmla="*/ 82 h 161"/>
                <a:gd name="T20" fmla="*/ 30 w 172"/>
                <a:gd name="T21" fmla="*/ 67 h 161"/>
                <a:gd name="T22" fmla="*/ 28 w 172"/>
                <a:gd name="T23" fmla="*/ 85 h 161"/>
                <a:gd name="T24" fmla="*/ 25 w 172"/>
                <a:gd name="T25" fmla="*/ 87 h 161"/>
                <a:gd name="T26" fmla="*/ 15 w 172"/>
                <a:gd name="T27" fmla="*/ 87 h 161"/>
                <a:gd name="T28" fmla="*/ 7 w 172"/>
                <a:gd name="T29" fmla="*/ 82 h 161"/>
                <a:gd name="T30" fmla="*/ 9 w 172"/>
                <a:gd name="T31" fmla="*/ 67 h 161"/>
                <a:gd name="T32" fmla="*/ 21 w 172"/>
                <a:gd name="T33" fmla="*/ 61 h 161"/>
                <a:gd name="T34" fmla="*/ 30 w 172"/>
                <a:gd name="T35" fmla="*/ 57 h 161"/>
                <a:gd name="T36" fmla="*/ 43 w 172"/>
                <a:gd name="T37" fmla="*/ 61 h 161"/>
                <a:gd name="T38" fmla="*/ 58 w 172"/>
                <a:gd name="T39" fmla="*/ 43 h 161"/>
                <a:gd name="T40" fmla="*/ 72 w 172"/>
                <a:gd name="T41" fmla="*/ 16 h 161"/>
                <a:gd name="T42" fmla="*/ 82 w 172"/>
                <a:gd name="T43" fmla="*/ 2 h 161"/>
                <a:gd name="T44" fmla="*/ 95 w 172"/>
                <a:gd name="T45" fmla="*/ 8 h 161"/>
                <a:gd name="T46" fmla="*/ 142 w 172"/>
                <a:gd name="T47" fmla="*/ 22 h 161"/>
                <a:gd name="T48" fmla="*/ 150 w 172"/>
                <a:gd name="T49" fmla="*/ 24 h 161"/>
                <a:gd name="T50" fmla="*/ 158 w 172"/>
                <a:gd name="T51" fmla="*/ 39 h 161"/>
                <a:gd name="T52" fmla="*/ 162 w 172"/>
                <a:gd name="T53" fmla="*/ 59 h 161"/>
                <a:gd name="T54" fmla="*/ 155 w 172"/>
                <a:gd name="T55" fmla="*/ 55 h 161"/>
                <a:gd name="T56" fmla="*/ 128 w 172"/>
                <a:gd name="T57" fmla="*/ 56 h 161"/>
                <a:gd name="T58" fmla="*/ 100 w 172"/>
                <a:gd name="T59" fmla="*/ 60 h 161"/>
                <a:gd name="T60" fmla="*/ 88 w 172"/>
                <a:gd name="T61" fmla="*/ 64 h 161"/>
                <a:gd name="T62" fmla="*/ 77 w 172"/>
                <a:gd name="T63" fmla="*/ 70 h 161"/>
                <a:gd name="T64" fmla="*/ 76 w 172"/>
                <a:gd name="T65" fmla="*/ 98 h 161"/>
                <a:gd name="T66" fmla="*/ 86 w 172"/>
                <a:gd name="T67" fmla="*/ 110 h 161"/>
                <a:gd name="T68" fmla="*/ 95 w 172"/>
                <a:gd name="T69" fmla="*/ 117 h 161"/>
                <a:gd name="T70" fmla="*/ 106 w 172"/>
                <a:gd name="T71" fmla="*/ 124 h 161"/>
                <a:gd name="T72" fmla="*/ 122 w 172"/>
                <a:gd name="T73" fmla="*/ 133 h 161"/>
                <a:gd name="T74" fmla="*/ 114 w 172"/>
                <a:gd name="T75" fmla="*/ 137 h 161"/>
                <a:gd name="T76" fmla="*/ 89 w 172"/>
                <a:gd name="T77" fmla="*/ 13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2" h="161">
                  <a:moveTo>
                    <a:pt x="156" y="156"/>
                  </a:moveTo>
                  <a:cubicBezTo>
                    <a:pt x="144" y="150"/>
                    <a:pt x="144" y="150"/>
                    <a:pt x="144" y="150"/>
                  </a:cubicBezTo>
                  <a:cubicBezTo>
                    <a:pt x="156" y="153"/>
                    <a:pt x="156" y="153"/>
                    <a:pt x="156" y="153"/>
                  </a:cubicBezTo>
                  <a:cubicBezTo>
                    <a:pt x="168" y="155"/>
                    <a:pt x="172" y="157"/>
                    <a:pt x="169" y="160"/>
                  </a:cubicBezTo>
                  <a:cubicBezTo>
                    <a:pt x="168" y="161"/>
                    <a:pt x="162" y="159"/>
                    <a:pt x="156" y="156"/>
                  </a:cubicBezTo>
                  <a:close/>
                  <a:moveTo>
                    <a:pt x="89" y="132"/>
                  </a:moveTo>
                  <a:cubicBezTo>
                    <a:pt x="87" y="129"/>
                    <a:pt x="80" y="125"/>
                    <a:pt x="73" y="122"/>
                  </a:cubicBezTo>
                  <a:cubicBezTo>
                    <a:pt x="62" y="118"/>
                    <a:pt x="61" y="117"/>
                    <a:pt x="67" y="112"/>
                  </a:cubicBezTo>
                  <a:cubicBezTo>
                    <a:pt x="73" y="108"/>
                    <a:pt x="72" y="107"/>
                    <a:pt x="64" y="103"/>
                  </a:cubicBezTo>
                  <a:cubicBezTo>
                    <a:pt x="58" y="101"/>
                    <a:pt x="50" y="91"/>
                    <a:pt x="45" y="82"/>
                  </a:cubicBezTo>
                  <a:cubicBezTo>
                    <a:pt x="40" y="71"/>
                    <a:pt x="35" y="66"/>
                    <a:pt x="30" y="67"/>
                  </a:cubicBezTo>
                  <a:cubicBezTo>
                    <a:pt x="23" y="69"/>
                    <a:pt x="23" y="71"/>
                    <a:pt x="28" y="85"/>
                  </a:cubicBezTo>
                  <a:cubicBezTo>
                    <a:pt x="31" y="91"/>
                    <a:pt x="30" y="92"/>
                    <a:pt x="25" y="87"/>
                  </a:cubicBezTo>
                  <a:cubicBezTo>
                    <a:pt x="20" y="83"/>
                    <a:pt x="18" y="83"/>
                    <a:pt x="15" y="87"/>
                  </a:cubicBezTo>
                  <a:cubicBezTo>
                    <a:pt x="13" y="90"/>
                    <a:pt x="11" y="89"/>
                    <a:pt x="7" y="82"/>
                  </a:cubicBezTo>
                  <a:cubicBezTo>
                    <a:pt x="0" y="69"/>
                    <a:pt x="0" y="67"/>
                    <a:pt x="9" y="67"/>
                  </a:cubicBezTo>
                  <a:cubicBezTo>
                    <a:pt x="13" y="67"/>
                    <a:pt x="19" y="64"/>
                    <a:pt x="21" y="61"/>
                  </a:cubicBezTo>
                  <a:cubicBezTo>
                    <a:pt x="24" y="57"/>
                    <a:pt x="28" y="56"/>
                    <a:pt x="30" y="57"/>
                  </a:cubicBezTo>
                  <a:cubicBezTo>
                    <a:pt x="32" y="58"/>
                    <a:pt x="38" y="60"/>
                    <a:pt x="43" y="61"/>
                  </a:cubicBezTo>
                  <a:cubicBezTo>
                    <a:pt x="51" y="62"/>
                    <a:pt x="53" y="60"/>
                    <a:pt x="58" y="43"/>
                  </a:cubicBezTo>
                  <a:cubicBezTo>
                    <a:pt x="61" y="33"/>
                    <a:pt x="67" y="21"/>
                    <a:pt x="72" y="16"/>
                  </a:cubicBezTo>
                  <a:cubicBezTo>
                    <a:pt x="77" y="11"/>
                    <a:pt x="82" y="5"/>
                    <a:pt x="82" y="2"/>
                  </a:cubicBezTo>
                  <a:cubicBezTo>
                    <a:pt x="82" y="0"/>
                    <a:pt x="87" y="2"/>
                    <a:pt x="95" y="8"/>
                  </a:cubicBezTo>
                  <a:cubicBezTo>
                    <a:pt x="113" y="21"/>
                    <a:pt x="132" y="27"/>
                    <a:pt x="142" y="22"/>
                  </a:cubicBezTo>
                  <a:cubicBezTo>
                    <a:pt x="148" y="19"/>
                    <a:pt x="150" y="20"/>
                    <a:pt x="150" y="24"/>
                  </a:cubicBezTo>
                  <a:cubicBezTo>
                    <a:pt x="150" y="28"/>
                    <a:pt x="153" y="34"/>
                    <a:pt x="158" y="39"/>
                  </a:cubicBezTo>
                  <a:cubicBezTo>
                    <a:pt x="165" y="46"/>
                    <a:pt x="168" y="59"/>
                    <a:pt x="162" y="59"/>
                  </a:cubicBezTo>
                  <a:cubicBezTo>
                    <a:pt x="161" y="59"/>
                    <a:pt x="157" y="57"/>
                    <a:pt x="155" y="55"/>
                  </a:cubicBezTo>
                  <a:cubicBezTo>
                    <a:pt x="152" y="52"/>
                    <a:pt x="144" y="53"/>
                    <a:pt x="128" y="56"/>
                  </a:cubicBezTo>
                  <a:cubicBezTo>
                    <a:pt x="116" y="60"/>
                    <a:pt x="103" y="61"/>
                    <a:pt x="100" y="60"/>
                  </a:cubicBezTo>
                  <a:cubicBezTo>
                    <a:pt x="97" y="59"/>
                    <a:pt x="92" y="61"/>
                    <a:pt x="88" y="64"/>
                  </a:cubicBezTo>
                  <a:cubicBezTo>
                    <a:pt x="85" y="68"/>
                    <a:pt x="79" y="71"/>
                    <a:pt x="77" y="70"/>
                  </a:cubicBezTo>
                  <a:cubicBezTo>
                    <a:pt x="58" y="68"/>
                    <a:pt x="58" y="81"/>
                    <a:pt x="76" y="98"/>
                  </a:cubicBezTo>
                  <a:cubicBezTo>
                    <a:pt x="81" y="103"/>
                    <a:pt x="86" y="108"/>
                    <a:pt x="86" y="110"/>
                  </a:cubicBezTo>
                  <a:cubicBezTo>
                    <a:pt x="86" y="112"/>
                    <a:pt x="90" y="115"/>
                    <a:pt x="95" y="117"/>
                  </a:cubicBezTo>
                  <a:cubicBezTo>
                    <a:pt x="99" y="118"/>
                    <a:pt x="105" y="122"/>
                    <a:pt x="106" y="124"/>
                  </a:cubicBezTo>
                  <a:cubicBezTo>
                    <a:pt x="108" y="126"/>
                    <a:pt x="115" y="130"/>
                    <a:pt x="122" y="133"/>
                  </a:cubicBezTo>
                  <a:cubicBezTo>
                    <a:pt x="135" y="137"/>
                    <a:pt x="135" y="138"/>
                    <a:pt x="114" y="137"/>
                  </a:cubicBezTo>
                  <a:cubicBezTo>
                    <a:pt x="102" y="137"/>
                    <a:pt x="91" y="134"/>
                    <a:pt x="89" y="132"/>
                  </a:cubicBezTo>
                  <a:close/>
                </a:path>
              </a:pathLst>
            </a:custGeom>
            <a:solidFill>
              <a:srgbClr val="C5C5C5"/>
            </a:solidFill>
            <a:ln w="33338" cap="flat">
              <a:solidFill>
                <a:srgbClr val="C5C5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81" name="Freeform 35"/>
            <p:cNvSpPr>
              <a:spLocks/>
            </p:cNvSpPr>
            <p:nvPr userDrawn="1"/>
          </p:nvSpPr>
          <p:spPr bwMode="grayWhite">
            <a:xfrm>
              <a:off x="10999788" y="2047875"/>
              <a:ext cx="347663" cy="261938"/>
            </a:xfrm>
            <a:custGeom>
              <a:avLst/>
              <a:gdLst>
                <a:gd name="T0" fmla="*/ 81 w 127"/>
                <a:gd name="T1" fmla="*/ 92 h 94"/>
                <a:gd name="T2" fmla="*/ 68 w 127"/>
                <a:gd name="T3" fmla="*/ 83 h 94"/>
                <a:gd name="T4" fmla="*/ 54 w 127"/>
                <a:gd name="T5" fmla="*/ 73 h 94"/>
                <a:gd name="T6" fmla="*/ 40 w 127"/>
                <a:gd name="T7" fmla="*/ 64 h 94"/>
                <a:gd name="T8" fmla="*/ 33 w 127"/>
                <a:gd name="T9" fmla="*/ 59 h 94"/>
                <a:gd name="T10" fmla="*/ 1 w 127"/>
                <a:gd name="T11" fmla="*/ 24 h 94"/>
                <a:gd name="T12" fmla="*/ 7 w 127"/>
                <a:gd name="T13" fmla="*/ 18 h 94"/>
                <a:gd name="T14" fmla="*/ 22 w 127"/>
                <a:gd name="T15" fmla="*/ 12 h 94"/>
                <a:gd name="T16" fmla="*/ 33 w 127"/>
                <a:gd name="T17" fmla="*/ 8 h 94"/>
                <a:gd name="T18" fmla="*/ 60 w 127"/>
                <a:gd name="T19" fmla="*/ 5 h 94"/>
                <a:gd name="T20" fmla="*/ 88 w 127"/>
                <a:gd name="T21" fmla="*/ 3 h 94"/>
                <a:gd name="T22" fmla="*/ 97 w 127"/>
                <a:gd name="T23" fmla="*/ 5 h 94"/>
                <a:gd name="T24" fmla="*/ 102 w 127"/>
                <a:gd name="T25" fmla="*/ 8 h 94"/>
                <a:gd name="T26" fmla="*/ 114 w 127"/>
                <a:gd name="T27" fmla="*/ 26 h 94"/>
                <a:gd name="T28" fmla="*/ 124 w 127"/>
                <a:gd name="T29" fmla="*/ 42 h 94"/>
                <a:gd name="T30" fmla="*/ 125 w 127"/>
                <a:gd name="T31" fmla="*/ 48 h 94"/>
                <a:gd name="T32" fmla="*/ 120 w 127"/>
                <a:gd name="T33" fmla="*/ 61 h 94"/>
                <a:gd name="T34" fmla="*/ 105 w 127"/>
                <a:gd name="T35" fmla="*/ 83 h 94"/>
                <a:gd name="T36" fmla="*/ 96 w 127"/>
                <a:gd name="T37" fmla="*/ 94 h 94"/>
                <a:gd name="T38" fmla="*/ 81 w 127"/>
                <a:gd name="T39" fmla="*/ 9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7" h="94">
                  <a:moveTo>
                    <a:pt x="81" y="92"/>
                  </a:moveTo>
                  <a:cubicBezTo>
                    <a:pt x="75" y="91"/>
                    <a:pt x="69" y="87"/>
                    <a:pt x="68" y="83"/>
                  </a:cubicBezTo>
                  <a:cubicBezTo>
                    <a:pt x="67" y="79"/>
                    <a:pt x="61" y="74"/>
                    <a:pt x="54" y="73"/>
                  </a:cubicBezTo>
                  <a:cubicBezTo>
                    <a:pt x="48" y="71"/>
                    <a:pt x="41" y="67"/>
                    <a:pt x="40" y="64"/>
                  </a:cubicBezTo>
                  <a:cubicBezTo>
                    <a:pt x="39" y="61"/>
                    <a:pt x="36" y="59"/>
                    <a:pt x="33" y="59"/>
                  </a:cubicBezTo>
                  <a:cubicBezTo>
                    <a:pt x="26" y="59"/>
                    <a:pt x="2" y="33"/>
                    <a:pt x="1" y="24"/>
                  </a:cubicBezTo>
                  <a:cubicBezTo>
                    <a:pt x="0" y="19"/>
                    <a:pt x="2" y="17"/>
                    <a:pt x="7" y="18"/>
                  </a:cubicBezTo>
                  <a:cubicBezTo>
                    <a:pt x="11" y="18"/>
                    <a:pt x="18" y="16"/>
                    <a:pt x="22" y="12"/>
                  </a:cubicBezTo>
                  <a:cubicBezTo>
                    <a:pt x="26" y="9"/>
                    <a:pt x="31" y="7"/>
                    <a:pt x="33" y="8"/>
                  </a:cubicBezTo>
                  <a:cubicBezTo>
                    <a:pt x="35" y="9"/>
                    <a:pt x="47" y="8"/>
                    <a:pt x="60" y="5"/>
                  </a:cubicBezTo>
                  <a:cubicBezTo>
                    <a:pt x="76" y="0"/>
                    <a:pt x="84" y="0"/>
                    <a:pt x="88" y="3"/>
                  </a:cubicBezTo>
                  <a:cubicBezTo>
                    <a:pt x="91" y="5"/>
                    <a:pt x="95" y="6"/>
                    <a:pt x="97" y="5"/>
                  </a:cubicBezTo>
                  <a:cubicBezTo>
                    <a:pt x="100" y="3"/>
                    <a:pt x="102" y="5"/>
                    <a:pt x="102" y="8"/>
                  </a:cubicBezTo>
                  <a:cubicBezTo>
                    <a:pt x="102" y="11"/>
                    <a:pt x="107" y="19"/>
                    <a:pt x="114" y="26"/>
                  </a:cubicBezTo>
                  <a:cubicBezTo>
                    <a:pt x="121" y="33"/>
                    <a:pt x="125" y="40"/>
                    <a:pt x="124" y="42"/>
                  </a:cubicBezTo>
                  <a:cubicBezTo>
                    <a:pt x="122" y="44"/>
                    <a:pt x="123" y="47"/>
                    <a:pt x="125" y="48"/>
                  </a:cubicBezTo>
                  <a:cubicBezTo>
                    <a:pt x="127" y="50"/>
                    <a:pt x="125" y="55"/>
                    <a:pt x="120" y="61"/>
                  </a:cubicBezTo>
                  <a:cubicBezTo>
                    <a:pt x="115" y="66"/>
                    <a:pt x="108" y="76"/>
                    <a:pt x="105" y="83"/>
                  </a:cubicBezTo>
                  <a:cubicBezTo>
                    <a:pt x="103" y="89"/>
                    <a:pt x="99" y="94"/>
                    <a:pt x="96" y="94"/>
                  </a:cubicBezTo>
                  <a:cubicBezTo>
                    <a:pt x="94" y="94"/>
                    <a:pt x="87" y="93"/>
                    <a:pt x="81" y="92"/>
                  </a:cubicBezTo>
                  <a:close/>
                </a:path>
              </a:pathLst>
            </a:custGeom>
            <a:solidFill>
              <a:srgbClr val="C5C5C5"/>
            </a:solidFill>
            <a:ln w="33338" cap="flat">
              <a:solidFill>
                <a:srgbClr val="C5C5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82" name="Freeform 36"/>
            <p:cNvSpPr>
              <a:spLocks/>
            </p:cNvSpPr>
            <p:nvPr userDrawn="1"/>
          </p:nvSpPr>
          <p:spPr bwMode="grayWhite">
            <a:xfrm>
              <a:off x="11277600" y="2214563"/>
              <a:ext cx="190500" cy="184150"/>
            </a:xfrm>
            <a:custGeom>
              <a:avLst/>
              <a:gdLst>
                <a:gd name="T0" fmla="*/ 33 w 70"/>
                <a:gd name="T1" fmla="*/ 56 h 66"/>
                <a:gd name="T2" fmla="*/ 14 w 70"/>
                <a:gd name="T3" fmla="*/ 47 h 66"/>
                <a:gd name="T4" fmla="*/ 12 w 70"/>
                <a:gd name="T5" fmla="*/ 18 h 66"/>
                <a:gd name="T6" fmla="*/ 27 w 70"/>
                <a:gd name="T7" fmla="*/ 3 h 66"/>
                <a:gd name="T8" fmla="*/ 47 w 70"/>
                <a:gd name="T9" fmla="*/ 13 h 66"/>
                <a:gd name="T10" fmla="*/ 61 w 70"/>
                <a:gd name="T11" fmla="*/ 20 h 66"/>
                <a:gd name="T12" fmla="*/ 64 w 70"/>
                <a:gd name="T13" fmla="*/ 28 h 66"/>
                <a:gd name="T14" fmla="*/ 57 w 70"/>
                <a:gd name="T15" fmla="*/ 30 h 66"/>
                <a:gd name="T16" fmla="*/ 47 w 70"/>
                <a:gd name="T17" fmla="*/ 52 h 66"/>
                <a:gd name="T18" fmla="*/ 45 w 70"/>
                <a:gd name="T19" fmla="*/ 66 h 66"/>
                <a:gd name="T20" fmla="*/ 33 w 70"/>
                <a:gd name="T21" fmla="*/ 5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 h="66">
                  <a:moveTo>
                    <a:pt x="33" y="56"/>
                  </a:moveTo>
                  <a:cubicBezTo>
                    <a:pt x="28" y="51"/>
                    <a:pt x="20" y="47"/>
                    <a:pt x="14" y="47"/>
                  </a:cubicBezTo>
                  <a:cubicBezTo>
                    <a:pt x="1" y="47"/>
                    <a:pt x="0" y="39"/>
                    <a:pt x="12" y="18"/>
                  </a:cubicBezTo>
                  <a:cubicBezTo>
                    <a:pt x="20" y="3"/>
                    <a:pt x="23" y="0"/>
                    <a:pt x="27" y="3"/>
                  </a:cubicBezTo>
                  <a:cubicBezTo>
                    <a:pt x="30" y="5"/>
                    <a:pt x="39" y="10"/>
                    <a:pt x="47" y="13"/>
                  </a:cubicBezTo>
                  <a:cubicBezTo>
                    <a:pt x="56" y="15"/>
                    <a:pt x="62" y="19"/>
                    <a:pt x="61" y="20"/>
                  </a:cubicBezTo>
                  <a:cubicBezTo>
                    <a:pt x="59" y="20"/>
                    <a:pt x="61" y="24"/>
                    <a:pt x="64" y="28"/>
                  </a:cubicBezTo>
                  <a:cubicBezTo>
                    <a:pt x="70" y="35"/>
                    <a:pt x="65" y="37"/>
                    <a:pt x="57" y="30"/>
                  </a:cubicBezTo>
                  <a:cubicBezTo>
                    <a:pt x="52" y="24"/>
                    <a:pt x="48" y="31"/>
                    <a:pt x="47" y="52"/>
                  </a:cubicBezTo>
                  <a:cubicBezTo>
                    <a:pt x="47" y="60"/>
                    <a:pt x="46" y="66"/>
                    <a:pt x="45" y="66"/>
                  </a:cubicBezTo>
                  <a:cubicBezTo>
                    <a:pt x="43" y="66"/>
                    <a:pt x="38" y="62"/>
                    <a:pt x="33" y="56"/>
                  </a:cubicBezTo>
                  <a:close/>
                </a:path>
              </a:pathLst>
            </a:custGeom>
            <a:solidFill>
              <a:srgbClr val="C5C5C5"/>
            </a:solidFill>
            <a:ln w="33338" cap="flat">
              <a:solidFill>
                <a:srgbClr val="C5C5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83" name="Freeform 37"/>
            <p:cNvSpPr>
              <a:spLocks/>
            </p:cNvSpPr>
            <p:nvPr userDrawn="1"/>
          </p:nvSpPr>
          <p:spPr bwMode="grayWhite">
            <a:xfrm>
              <a:off x="11414125" y="2300288"/>
              <a:ext cx="180975" cy="355600"/>
            </a:xfrm>
            <a:custGeom>
              <a:avLst/>
              <a:gdLst>
                <a:gd name="T0" fmla="*/ 43 w 66"/>
                <a:gd name="T1" fmla="*/ 124 h 128"/>
                <a:gd name="T2" fmla="*/ 32 w 66"/>
                <a:gd name="T3" fmla="*/ 115 h 128"/>
                <a:gd name="T4" fmla="*/ 21 w 66"/>
                <a:gd name="T5" fmla="*/ 104 h 128"/>
                <a:gd name="T6" fmla="*/ 16 w 66"/>
                <a:gd name="T7" fmla="*/ 96 h 128"/>
                <a:gd name="T8" fmla="*/ 9 w 66"/>
                <a:gd name="T9" fmla="*/ 68 h 128"/>
                <a:gd name="T10" fmla="*/ 2 w 66"/>
                <a:gd name="T11" fmla="*/ 35 h 128"/>
                <a:gd name="T12" fmla="*/ 2 w 66"/>
                <a:gd name="T13" fmla="*/ 13 h 128"/>
                <a:gd name="T14" fmla="*/ 6 w 66"/>
                <a:gd name="T15" fmla="*/ 3 h 128"/>
                <a:gd name="T16" fmla="*/ 17 w 66"/>
                <a:gd name="T17" fmla="*/ 7 h 128"/>
                <a:gd name="T18" fmla="*/ 35 w 66"/>
                <a:gd name="T19" fmla="*/ 27 h 128"/>
                <a:gd name="T20" fmla="*/ 54 w 66"/>
                <a:gd name="T21" fmla="*/ 60 h 128"/>
                <a:gd name="T22" fmla="*/ 62 w 66"/>
                <a:gd name="T23" fmla="*/ 80 h 128"/>
                <a:gd name="T24" fmla="*/ 57 w 66"/>
                <a:gd name="T25" fmla="*/ 107 h 128"/>
                <a:gd name="T26" fmla="*/ 49 w 66"/>
                <a:gd name="T27" fmla="*/ 127 h 128"/>
                <a:gd name="T28" fmla="*/ 43 w 66"/>
                <a:gd name="T29" fmla="*/ 12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128">
                  <a:moveTo>
                    <a:pt x="43" y="124"/>
                  </a:moveTo>
                  <a:cubicBezTo>
                    <a:pt x="43" y="122"/>
                    <a:pt x="38" y="118"/>
                    <a:pt x="32" y="115"/>
                  </a:cubicBezTo>
                  <a:cubicBezTo>
                    <a:pt x="25" y="112"/>
                    <a:pt x="21" y="107"/>
                    <a:pt x="21" y="104"/>
                  </a:cubicBezTo>
                  <a:cubicBezTo>
                    <a:pt x="21" y="102"/>
                    <a:pt x="18" y="98"/>
                    <a:pt x="16" y="96"/>
                  </a:cubicBezTo>
                  <a:cubicBezTo>
                    <a:pt x="14" y="95"/>
                    <a:pt x="10" y="82"/>
                    <a:pt x="9" y="68"/>
                  </a:cubicBezTo>
                  <a:cubicBezTo>
                    <a:pt x="7" y="53"/>
                    <a:pt x="4" y="38"/>
                    <a:pt x="2" y="35"/>
                  </a:cubicBezTo>
                  <a:cubicBezTo>
                    <a:pt x="0" y="31"/>
                    <a:pt x="0" y="22"/>
                    <a:pt x="2" y="13"/>
                  </a:cubicBezTo>
                  <a:cubicBezTo>
                    <a:pt x="4" y="4"/>
                    <a:pt x="6" y="0"/>
                    <a:pt x="6" y="3"/>
                  </a:cubicBezTo>
                  <a:cubicBezTo>
                    <a:pt x="6" y="6"/>
                    <a:pt x="11" y="7"/>
                    <a:pt x="17" y="7"/>
                  </a:cubicBezTo>
                  <a:cubicBezTo>
                    <a:pt x="26" y="6"/>
                    <a:pt x="28" y="8"/>
                    <a:pt x="35" y="27"/>
                  </a:cubicBezTo>
                  <a:cubicBezTo>
                    <a:pt x="39" y="40"/>
                    <a:pt x="47" y="54"/>
                    <a:pt x="54" y="60"/>
                  </a:cubicBezTo>
                  <a:cubicBezTo>
                    <a:pt x="65" y="70"/>
                    <a:pt x="66" y="73"/>
                    <a:pt x="62" y="80"/>
                  </a:cubicBezTo>
                  <a:cubicBezTo>
                    <a:pt x="59" y="85"/>
                    <a:pt x="57" y="97"/>
                    <a:pt x="57" y="107"/>
                  </a:cubicBezTo>
                  <a:cubicBezTo>
                    <a:pt x="56" y="121"/>
                    <a:pt x="54" y="126"/>
                    <a:pt x="49" y="127"/>
                  </a:cubicBezTo>
                  <a:cubicBezTo>
                    <a:pt x="46" y="128"/>
                    <a:pt x="43" y="126"/>
                    <a:pt x="43" y="124"/>
                  </a:cubicBezTo>
                  <a:close/>
                </a:path>
              </a:pathLst>
            </a:custGeom>
            <a:solidFill>
              <a:srgbClr val="C5C5C5"/>
            </a:solidFill>
            <a:ln w="33338" cap="flat">
              <a:solidFill>
                <a:srgbClr val="C5C5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84" name="Freeform 38"/>
            <p:cNvSpPr>
              <a:spLocks/>
            </p:cNvSpPr>
            <p:nvPr userDrawn="1"/>
          </p:nvSpPr>
          <p:spPr bwMode="grayWhite">
            <a:xfrm>
              <a:off x="11509375" y="2287588"/>
              <a:ext cx="260350" cy="201613"/>
            </a:xfrm>
            <a:custGeom>
              <a:avLst/>
              <a:gdLst>
                <a:gd name="T0" fmla="*/ 20 w 95"/>
                <a:gd name="T1" fmla="*/ 61 h 73"/>
                <a:gd name="T2" fmla="*/ 4 w 95"/>
                <a:gd name="T3" fmla="*/ 27 h 73"/>
                <a:gd name="T4" fmla="*/ 33 w 95"/>
                <a:gd name="T5" fmla="*/ 13 h 73"/>
                <a:gd name="T6" fmla="*/ 76 w 95"/>
                <a:gd name="T7" fmla="*/ 7 h 73"/>
                <a:gd name="T8" fmla="*/ 92 w 95"/>
                <a:gd name="T9" fmla="*/ 17 h 73"/>
                <a:gd name="T10" fmla="*/ 94 w 95"/>
                <a:gd name="T11" fmla="*/ 25 h 73"/>
                <a:gd name="T12" fmla="*/ 78 w 95"/>
                <a:gd name="T13" fmla="*/ 39 h 73"/>
                <a:gd name="T14" fmla="*/ 58 w 95"/>
                <a:gd name="T15" fmla="*/ 56 h 73"/>
                <a:gd name="T16" fmla="*/ 34 w 95"/>
                <a:gd name="T17" fmla="*/ 73 h 73"/>
                <a:gd name="T18" fmla="*/ 20 w 95"/>
                <a:gd name="T19" fmla="*/ 6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73">
                  <a:moveTo>
                    <a:pt x="20" y="61"/>
                  </a:moveTo>
                  <a:cubicBezTo>
                    <a:pt x="10" y="51"/>
                    <a:pt x="0" y="30"/>
                    <a:pt x="4" y="27"/>
                  </a:cubicBezTo>
                  <a:cubicBezTo>
                    <a:pt x="5" y="26"/>
                    <a:pt x="18" y="20"/>
                    <a:pt x="33" y="13"/>
                  </a:cubicBezTo>
                  <a:cubicBezTo>
                    <a:pt x="61" y="0"/>
                    <a:pt x="61" y="0"/>
                    <a:pt x="76" y="7"/>
                  </a:cubicBezTo>
                  <a:cubicBezTo>
                    <a:pt x="85" y="11"/>
                    <a:pt x="92" y="15"/>
                    <a:pt x="92" y="17"/>
                  </a:cubicBezTo>
                  <a:cubicBezTo>
                    <a:pt x="92" y="18"/>
                    <a:pt x="92" y="22"/>
                    <a:pt x="94" y="25"/>
                  </a:cubicBezTo>
                  <a:cubicBezTo>
                    <a:pt x="95" y="29"/>
                    <a:pt x="89" y="34"/>
                    <a:pt x="78" y="39"/>
                  </a:cubicBezTo>
                  <a:cubicBezTo>
                    <a:pt x="68" y="44"/>
                    <a:pt x="59" y="52"/>
                    <a:pt x="58" y="56"/>
                  </a:cubicBezTo>
                  <a:cubicBezTo>
                    <a:pt x="56" y="62"/>
                    <a:pt x="40" y="73"/>
                    <a:pt x="34" y="73"/>
                  </a:cubicBezTo>
                  <a:cubicBezTo>
                    <a:pt x="33" y="73"/>
                    <a:pt x="27" y="67"/>
                    <a:pt x="20" y="61"/>
                  </a:cubicBezTo>
                  <a:close/>
                </a:path>
              </a:pathLst>
            </a:custGeom>
            <a:solidFill>
              <a:srgbClr val="C5C5C5"/>
            </a:solidFill>
            <a:ln w="33338" cap="flat">
              <a:solidFill>
                <a:srgbClr val="C5C5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85" name="Freeform 39"/>
            <p:cNvSpPr>
              <a:spLocks/>
            </p:cNvSpPr>
            <p:nvPr userDrawn="1"/>
          </p:nvSpPr>
          <p:spPr bwMode="grayWhite">
            <a:xfrm>
              <a:off x="11641138" y="1895475"/>
              <a:ext cx="528638" cy="458788"/>
            </a:xfrm>
            <a:custGeom>
              <a:avLst/>
              <a:gdLst>
                <a:gd name="T0" fmla="*/ 48 w 193"/>
                <a:gd name="T1" fmla="*/ 159 h 165"/>
                <a:gd name="T2" fmla="*/ 30 w 193"/>
                <a:gd name="T3" fmla="*/ 145 h 165"/>
                <a:gd name="T4" fmla="*/ 18 w 193"/>
                <a:gd name="T5" fmla="*/ 105 h 165"/>
                <a:gd name="T6" fmla="*/ 7 w 193"/>
                <a:gd name="T7" fmla="*/ 79 h 165"/>
                <a:gd name="T8" fmla="*/ 0 w 193"/>
                <a:gd name="T9" fmla="*/ 70 h 165"/>
                <a:gd name="T10" fmla="*/ 25 w 193"/>
                <a:gd name="T11" fmla="*/ 63 h 165"/>
                <a:gd name="T12" fmla="*/ 114 w 193"/>
                <a:gd name="T13" fmla="*/ 27 h 165"/>
                <a:gd name="T14" fmla="*/ 176 w 193"/>
                <a:gd name="T15" fmla="*/ 6 h 165"/>
                <a:gd name="T16" fmla="*/ 184 w 193"/>
                <a:gd name="T17" fmla="*/ 26 h 165"/>
                <a:gd name="T18" fmla="*/ 176 w 193"/>
                <a:gd name="T19" fmla="*/ 50 h 165"/>
                <a:gd name="T20" fmla="*/ 176 w 193"/>
                <a:gd name="T21" fmla="*/ 66 h 165"/>
                <a:gd name="T22" fmla="*/ 175 w 193"/>
                <a:gd name="T23" fmla="*/ 74 h 165"/>
                <a:gd name="T24" fmla="*/ 157 w 193"/>
                <a:gd name="T25" fmla="*/ 106 h 165"/>
                <a:gd name="T26" fmla="*/ 142 w 193"/>
                <a:gd name="T27" fmla="*/ 130 h 165"/>
                <a:gd name="T28" fmla="*/ 106 w 193"/>
                <a:gd name="T29" fmla="*/ 144 h 165"/>
                <a:gd name="T30" fmla="*/ 78 w 193"/>
                <a:gd name="T31" fmla="*/ 149 h 165"/>
                <a:gd name="T32" fmla="*/ 59 w 193"/>
                <a:gd name="T33" fmla="*/ 161 h 165"/>
                <a:gd name="T34" fmla="*/ 48 w 193"/>
                <a:gd name="T35" fmla="*/ 15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3" h="165">
                  <a:moveTo>
                    <a:pt x="48" y="159"/>
                  </a:moveTo>
                  <a:cubicBezTo>
                    <a:pt x="48" y="156"/>
                    <a:pt x="39" y="149"/>
                    <a:pt x="30" y="145"/>
                  </a:cubicBezTo>
                  <a:cubicBezTo>
                    <a:pt x="9" y="135"/>
                    <a:pt x="7" y="126"/>
                    <a:pt x="18" y="105"/>
                  </a:cubicBezTo>
                  <a:cubicBezTo>
                    <a:pt x="25" y="92"/>
                    <a:pt x="21" y="84"/>
                    <a:pt x="7" y="79"/>
                  </a:cubicBezTo>
                  <a:cubicBezTo>
                    <a:pt x="3" y="78"/>
                    <a:pt x="0" y="74"/>
                    <a:pt x="0" y="70"/>
                  </a:cubicBezTo>
                  <a:cubicBezTo>
                    <a:pt x="0" y="65"/>
                    <a:pt x="4" y="63"/>
                    <a:pt x="25" y="63"/>
                  </a:cubicBezTo>
                  <a:cubicBezTo>
                    <a:pt x="57" y="62"/>
                    <a:pt x="94" y="47"/>
                    <a:pt x="114" y="27"/>
                  </a:cubicBezTo>
                  <a:cubicBezTo>
                    <a:pt x="133" y="9"/>
                    <a:pt x="159" y="0"/>
                    <a:pt x="176" y="6"/>
                  </a:cubicBezTo>
                  <a:cubicBezTo>
                    <a:pt x="187" y="10"/>
                    <a:pt x="193" y="26"/>
                    <a:pt x="184" y="26"/>
                  </a:cubicBezTo>
                  <a:cubicBezTo>
                    <a:pt x="176" y="26"/>
                    <a:pt x="171" y="41"/>
                    <a:pt x="176" y="50"/>
                  </a:cubicBezTo>
                  <a:cubicBezTo>
                    <a:pt x="179" y="55"/>
                    <a:pt x="179" y="60"/>
                    <a:pt x="176" y="66"/>
                  </a:cubicBezTo>
                  <a:cubicBezTo>
                    <a:pt x="173" y="70"/>
                    <a:pt x="173" y="74"/>
                    <a:pt x="175" y="74"/>
                  </a:cubicBezTo>
                  <a:cubicBezTo>
                    <a:pt x="183" y="74"/>
                    <a:pt x="174" y="90"/>
                    <a:pt x="157" y="106"/>
                  </a:cubicBezTo>
                  <a:cubicBezTo>
                    <a:pt x="144" y="118"/>
                    <a:pt x="140" y="124"/>
                    <a:pt x="142" y="130"/>
                  </a:cubicBezTo>
                  <a:cubicBezTo>
                    <a:pt x="145" y="141"/>
                    <a:pt x="130" y="147"/>
                    <a:pt x="106" y="144"/>
                  </a:cubicBezTo>
                  <a:cubicBezTo>
                    <a:pt x="90" y="142"/>
                    <a:pt x="85" y="142"/>
                    <a:pt x="78" y="149"/>
                  </a:cubicBezTo>
                  <a:cubicBezTo>
                    <a:pt x="73" y="153"/>
                    <a:pt x="65" y="159"/>
                    <a:pt x="59" y="161"/>
                  </a:cubicBezTo>
                  <a:cubicBezTo>
                    <a:pt x="50" y="165"/>
                    <a:pt x="48" y="164"/>
                    <a:pt x="48" y="159"/>
                  </a:cubicBezTo>
                  <a:close/>
                </a:path>
              </a:pathLst>
            </a:custGeom>
            <a:solidFill>
              <a:srgbClr val="C5C5C5"/>
            </a:solidFill>
            <a:ln w="33338" cap="flat">
              <a:solidFill>
                <a:srgbClr val="C5C5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86" name="Freeform 40"/>
            <p:cNvSpPr>
              <a:spLocks/>
            </p:cNvSpPr>
            <p:nvPr userDrawn="1"/>
          </p:nvSpPr>
          <p:spPr bwMode="grayWhite">
            <a:xfrm>
              <a:off x="12396788" y="1430338"/>
              <a:ext cx="304800" cy="234950"/>
            </a:xfrm>
            <a:custGeom>
              <a:avLst/>
              <a:gdLst>
                <a:gd name="T0" fmla="*/ 42 w 111"/>
                <a:gd name="T1" fmla="*/ 73 h 85"/>
                <a:gd name="T2" fmla="*/ 39 w 111"/>
                <a:gd name="T3" fmla="*/ 60 h 85"/>
                <a:gd name="T4" fmla="*/ 18 w 111"/>
                <a:gd name="T5" fmla="*/ 52 h 85"/>
                <a:gd name="T6" fmla="*/ 5 w 111"/>
                <a:gd name="T7" fmla="*/ 46 h 85"/>
                <a:gd name="T8" fmla="*/ 12 w 111"/>
                <a:gd name="T9" fmla="*/ 35 h 85"/>
                <a:gd name="T10" fmla="*/ 20 w 111"/>
                <a:gd name="T11" fmla="*/ 26 h 85"/>
                <a:gd name="T12" fmla="*/ 26 w 111"/>
                <a:gd name="T13" fmla="*/ 18 h 85"/>
                <a:gd name="T14" fmla="*/ 35 w 111"/>
                <a:gd name="T15" fmla="*/ 8 h 85"/>
                <a:gd name="T16" fmla="*/ 50 w 111"/>
                <a:gd name="T17" fmla="*/ 6 h 85"/>
                <a:gd name="T18" fmla="*/ 52 w 111"/>
                <a:gd name="T19" fmla="*/ 10 h 85"/>
                <a:gd name="T20" fmla="*/ 66 w 111"/>
                <a:gd name="T21" fmla="*/ 18 h 85"/>
                <a:gd name="T22" fmla="*/ 77 w 111"/>
                <a:gd name="T23" fmla="*/ 26 h 85"/>
                <a:gd name="T24" fmla="*/ 86 w 111"/>
                <a:gd name="T25" fmla="*/ 16 h 85"/>
                <a:gd name="T26" fmla="*/ 109 w 111"/>
                <a:gd name="T27" fmla="*/ 11 h 85"/>
                <a:gd name="T28" fmla="*/ 94 w 111"/>
                <a:gd name="T29" fmla="*/ 23 h 85"/>
                <a:gd name="T30" fmla="*/ 84 w 111"/>
                <a:gd name="T31" fmla="*/ 35 h 85"/>
                <a:gd name="T32" fmla="*/ 73 w 111"/>
                <a:gd name="T33" fmla="*/ 48 h 85"/>
                <a:gd name="T34" fmla="*/ 67 w 111"/>
                <a:gd name="T35" fmla="*/ 57 h 85"/>
                <a:gd name="T36" fmla="*/ 42 w 111"/>
                <a:gd name="T37" fmla="*/ 7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1" h="85">
                  <a:moveTo>
                    <a:pt x="42" y="73"/>
                  </a:moveTo>
                  <a:cubicBezTo>
                    <a:pt x="41" y="70"/>
                    <a:pt x="39" y="64"/>
                    <a:pt x="39" y="60"/>
                  </a:cubicBezTo>
                  <a:cubicBezTo>
                    <a:pt x="38" y="53"/>
                    <a:pt x="34" y="52"/>
                    <a:pt x="18" y="52"/>
                  </a:cubicBezTo>
                  <a:cubicBezTo>
                    <a:pt x="1" y="52"/>
                    <a:pt x="0" y="52"/>
                    <a:pt x="5" y="46"/>
                  </a:cubicBezTo>
                  <a:cubicBezTo>
                    <a:pt x="9" y="42"/>
                    <a:pt x="12" y="37"/>
                    <a:pt x="12" y="35"/>
                  </a:cubicBezTo>
                  <a:cubicBezTo>
                    <a:pt x="12" y="33"/>
                    <a:pt x="15" y="29"/>
                    <a:pt x="20" y="26"/>
                  </a:cubicBezTo>
                  <a:cubicBezTo>
                    <a:pt x="24" y="24"/>
                    <a:pt x="27" y="20"/>
                    <a:pt x="26" y="18"/>
                  </a:cubicBezTo>
                  <a:cubicBezTo>
                    <a:pt x="24" y="16"/>
                    <a:pt x="29" y="11"/>
                    <a:pt x="35" y="8"/>
                  </a:cubicBezTo>
                  <a:cubicBezTo>
                    <a:pt x="49" y="1"/>
                    <a:pt x="53" y="0"/>
                    <a:pt x="50" y="6"/>
                  </a:cubicBezTo>
                  <a:cubicBezTo>
                    <a:pt x="48" y="8"/>
                    <a:pt x="49" y="10"/>
                    <a:pt x="52" y="10"/>
                  </a:cubicBezTo>
                  <a:cubicBezTo>
                    <a:pt x="54" y="10"/>
                    <a:pt x="61" y="13"/>
                    <a:pt x="66" y="18"/>
                  </a:cubicBezTo>
                  <a:cubicBezTo>
                    <a:pt x="77" y="26"/>
                    <a:pt x="77" y="26"/>
                    <a:pt x="77" y="26"/>
                  </a:cubicBezTo>
                  <a:cubicBezTo>
                    <a:pt x="86" y="16"/>
                    <a:pt x="86" y="16"/>
                    <a:pt x="86" y="16"/>
                  </a:cubicBezTo>
                  <a:cubicBezTo>
                    <a:pt x="96" y="4"/>
                    <a:pt x="106" y="3"/>
                    <a:pt x="109" y="11"/>
                  </a:cubicBezTo>
                  <a:cubicBezTo>
                    <a:pt x="111" y="16"/>
                    <a:pt x="103" y="22"/>
                    <a:pt x="94" y="23"/>
                  </a:cubicBezTo>
                  <a:cubicBezTo>
                    <a:pt x="91" y="23"/>
                    <a:pt x="87" y="29"/>
                    <a:pt x="84" y="35"/>
                  </a:cubicBezTo>
                  <a:cubicBezTo>
                    <a:pt x="81" y="41"/>
                    <a:pt x="76" y="47"/>
                    <a:pt x="73" y="48"/>
                  </a:cubicBezTo>
                  <a:cubicBezTo>
                    <a:pt x="70" y="49"/>
                    <a:pt x="67" y="53"/>
                    <a:pt x="67" y="57"/>
                  </a:cubicBezTo>
                  <a:cubicBezTo>
                    <a:pt x="67" y="72"/>
                    <a:pt x="46" y="85"/>
                    <a:pt x="42" y="73"/>
                  </a:cubicBezTo>
                  <a:close/>
                </a:path>
              </a:pathLst>
            </a:custGeom>
            <a:solidFill>
              <a:srgbClr val="C5C5C5"/>
            </a:solidFill>
            <a:ln w="33338" cap="flat">
              <a:solidFill>
                <a:srgbClr val="C5C5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87" name="Freeform 41"/>
            <p:cNvSpPr>
              <a:spLocks noEditPoints="1"/>
            </p:cNvSpPr>
            <p:nvPr userDrawn="1"/>
          </p:nvSpPr>
          <p:spPr bwMode="grayWhite">
            <a:xfrm>
              <a:off x="12033250" y="2101850"/>
              <a:ext cx="736600" cy="776288"/>
            </a:xfrm>
            <a:custGeom>
              <a:avLst/>
              <a:gdLst>
                <a:gd name="T0" fmla="*/ 245 w 269"/>
                <a:gd name="T1" fmla="*/ 272 h 280"/>
                <a:gd name="T2" fmla="*/ 221 w 269"/>
                <a:gd name="T3" fmla="*/ 257 h 280"/>
                <a:gd name="T4" fmla="*/ 201 w 269"/>
                <a:gd name="T5" fmla="*/ 247 h 280"/>
                <a:gd name="T6" fmla="*/ 195 w 269"/>
                <a:gd name="T7" fmla="*/ 244 h 280"/>
                <a:gd name="T8" fmla="*/ 189 w 269"/>
                <a:gd name="T9" fmla="*/ 249 h 280"/>
                <a:gd name="T10" fmla="*/ 183 w 269"/>
                <a:gd name="T11" fmla="*/ 257 h 280"/>
                <a:gd name="T12" fmla="*/ 177 w 269"/>
                <a:gd name="T13" fmla="*/ 265 h 280"/>
                <a:gd name="T14" fmla="*/ 171 w 269"/>
                <a:gd name="T15" fmla="*/ 273 h 280"/>
                <a:gd name="T16" fmla="*/ 129 w 269"/>
                <a:gd name="T17" fmla="*/ 267 h 280"/>
                <a:gd name="T18" fmla="*/ 124 w 269"/>
                <a:gd name="T19" fmla="*/ 263 h 280"/>
                <a:gd name="T20" fmla="*/ 107 w 269"/>
                <a:gd name="T21" fmla="*/ 258 h 280"/>
                <a:gd name="T22" fmla="*/ 92 w 269"/>
                <a:gd name="T23" fmla="*/ 257 h 280"/>
                <a:gd name="T24" fmla="*/ 82 w 269"/>
                <a:gd name="T25" fmla="*/ 257 h 280"/>
                <a:gd name="T26" fmla="*/ 77 w 269"/>
                <a:gd name="T27" fmla="*/ 246 h 280"/>
                <a:gd name="T28" fmla="*/ 67 w 269"/>
                <a:gd name="T29" fmla="*/ 237 h 280"/>
                <a:gd name="T30" fmla="*/ 54 w 269"/>
                <a:gd name="T31" fmla="*/ 223 h 280"/>
                <a:gd name="T32" fmla="*/ 44 w 269"/>
                <a:gd name="T33" fmla="*/ 203 h 280"/>
                <a:gd name="T34" fmla="*/ 36 w 269"/>
                <a:gd name="T35" fmla="*/ 172 h 280"/>
                <a:gd name="T36" fmla="*/ 41 w 269"/>
                <a:gd name="T37" fmla="*/ 164 h 280"/>
                <a:gd name="T38" fmla="*/ 35 w 269"/>
                <a:gd name="T39" fmla="*/ 156 h 280"/>
                <a:gd name="T40" fmla="*/ 23 w 269"/>
                <a:gd name="T41" fmla="*/ 144 h 280"/>
                <a:gd name="T42" fmla="*/ 11 w 269"/>
                <a:gd name="T43" fmla="*/ 133 h 280"/>
                <a:gd name="T44" fmla="*/ 35 w 269"/>
                <a:gd name="T45" fmla="*/ 100 h 280"/>
                <a:gd name="T46" fmla="*/ 50 w 269"/>
                <a:gd name="T47" fmla="*/ 93 h 280"/>
                <a:gd name="T48" fmla="*/ 80 w 269"/>
                <a:gd name="T49" fmla="*/ 86 h 280"/>
                <a:gd name="T50" fmla="*/ 105 w 269"/>
                <a:gd name="T51" fmla="*/ 84 h 280"/>
                <a:gd name="T52" fmla="*/ 116 w 269"/>
                <a:gd name="T53" fmla="*/ 77 h 280"/>
                <a:gd name="T54" fmla="*/ 126 w 269"/>
                <a:gd name="T55" fmla="*/ 63 h 280"/>
                <a:gd name="T56" fmla="*/ 143 w 269"/>
                <a:gd name="T57" fmla="*/ 54 h 280"/>
                <a:gd name="T58" fmla="*/ 197 w 269"/>
                <a:gd name="T59" fmla="*/ 46 h 280"/>
                <a:gd name="T60" fmla="*/ 245 w 269"/>
                <a:gd name="T61" fmla="*/ 28 h 280"/>
                <a:gd name="T62" fmla="*/ 253 w 269"/>
                <a:gd name="T63" fmla="*/ 24 h 280"/>
                <a:gd name="T64" fmla="*/ 261 w 269"/>
                <a:gd name="T65" fmla="*/ 20 h 280"/>
                <a:gd name="T66" fmla="*/ 269 w 269"/>
                <a:gd name="T67" fmla="*/ 150 h 280"/>
                <a:gd name="T68" fmla="*/ 269 w 269"/>
                <a:gd name="T69" fmla="*/ 280 h 280"/>
                <a:gd name="T70" fmla="*/ 259 w 269"/>
                <a:gd name="T71" fmla="*/ 280 h 280"/>
                <a:gd name="T72" fmla="*/ 245 w 269"/>
                <a:gd name="T73" fmla="*/ 272 h 280"/>
                <a:gd name="T74" fmla="*/ 14 w 269"/>
                <a:gd name="T75" fmla="*/ 92 h 280"/>
                <a:gd name="T76" fmla="*/ 9 w 269"/>
                <a:gd name="T77" fmla="*/ 69 h 280"/>
                <a:gd name="T78" fmla="*/ 0 w 269"/>
                <a:gd name="T79" fmla="*/ 50 h 280"/>
                <a:gd name="T80" fmla="*/ 18 w 269"/>
                <a:gd name="T81" fmla="*/ 32 h 280"/>
                <a:gd name="T82" fmla="*/ 37 w 269"/>
                <a:gd name="T83" fmla="*/ 8 h 280"/>
                <a:gd name="T84" fmla="*/ 55 w 269"/>
                <a:gd name="T85" fmla="*/ 20 h 280"/>
                <a:gd name="T86" fmla="*/ 77 w 269"/>
                <a:gd name="T87" fmla="*/ 34 h 280"/>
                <a:gd name="T88" fmla="*/ 75 w 269"/>
                <a:gd name="T89" fmla="*/ 56 h 280"/>
                <a:gd name="T90" fmla="*/ 57 w 269"/>
                <a:gd name="T91" fmla="*/ 69 h 280"/>
                <a:gd name="T92" fmla="*/ 34 w 269"/>
                <a:gd name="T93" fmla="*/ 89 h 280"/>
                <a:gd name="T94" fmla="*/ 19 w 269"/>
                <a:gd name="T95" fmla="*/ 94 h 280"/>
                <a:gd name="T96" fmla="*/ 14 w 269"/>
                <a:gd name="T97" fmla="*/ 9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69" h="280">
                  <a:moveTo>
                    <a:pt x="245" y="272"/>
                  </a:moveTo>
                  <a:cubicBezTo>
                    <a:pt x="243" y="268"/>
                    <a:pt x="232" y="261"/>
                    <a:pt x="221" y="257"/>
                  </a:cubicBezTo>
                  <a:cubicBezTo>
                    <a:pt x="210" y="253"/>
                    <a:pt x="201" y="248"/>
                    <a:pt x="201" y="247"/>
                  </a:cubicBezTo>
                  <a:cubicBezTo>
                    <a:pt x="201" y="245"/>
                    <a:pt x="198" y="244"/>
                    <a:pt x="195" y="244"/>
                  </a:cubicBezTo>
                  <a:cubicBezTo>
                    <a:pt x="191" y="244"/>
                    <a:pt x="189" y="246"/>
                    <a:pt x="189" y="249"/>
                  </a:cubicBezTo>
                  <a:cubicBezTo>
                    <a:pt x="189" y="252"/>
                    <a:pt x="186" y="256"/>
                    <a:pt x="183" y="257"/>
                  </a:cubicBezTo>
                  <a:cubicBezTo>
                    <a:pt x="179" y="258"/>
                    <a:pt x="177" y="262"/>
                    <a:pt x="177" y="265"/>
                  </a:cubicBezTo>
                  <a:cubicBezTo>
                    <a:pt x="177" y="268"/>
                    <a:pt x="174" y="272"/>
                    <a:pt x="171" y="273"/>
                  </a:cubicBezTo>
                  <a:cubicBezTo>
                    <a:pt x="163" y="276"/>
                    <a:pt x="129" y="271"/>
                    <a:pt x="129" y="267"/>
                  </a:cubicBezTo>
                  <a:cubicBezTo>
                    <a:pt x="129" y="265"/>
                    <a:pt x="126" y="263"/>
                    <a:pt x="124" y="263"/>
                  </a:cubicBezTo>
                  <a:cubicBezTo>
                    <a:pt x="121" y="263"/>
                    <a:pt x="114" y="261"/>
                    <a:pt x="107" y="258"/>
                  </a:cubicBezTo>
                  <a:cubicBezTo>
                    <a:pt x="98" y="253"/>
                    <a:pt x="96" y="253"/>
                    <a:pt x="92" y="257"/>
                  </a:cubicBezTo>
                  <a:cubicBezTo>
                    <a:pt x="88" y="261"/>
                    <a:pt x="86" y="261"/>
                    <a:pt x="82" y="257"/>
                  </a:cubicBezTo>
                  <a:cubicBezTo>
                    <a:pt x="79" y="254"/>
                    <a:pt x="77" y="249"/>
                    <a:pt x="77" y="246"/>
                  </a:cubicBezTo>
                  <a:cubicBezTo>
                    <a:pt x="77" y="242"/>
                    <a:pt x="72" y="239"/>
                    <a:pt x="67" y="237"/>
                  </a:cubicBezTo>
                  <a:cubicBezTo>
                    <a:pt x="60" y="236"/>
                    <a:pt x="56" y="231"/>
                    <a:pt x="54" y="223"/>
                  </a:cubicBezTo>
                  <a:cubicBezTo>
                    <a:pt x="53" y="216"/>
                    <a:pt x="48" y="207"/>
                    <a:pt x="44" y="203"/>
                  </a:cubicBezTo>
                  <a:cubicBezTo>
                    <a:pt x="30" y="189"/>
                    <a:pt x="28" y="180"/>
                    <a:pt x="36" y="172"/>
                  </a:cubicBezTo>
                  <a:cubicBezTo>
                    <a:pt x="41" y="167"/>
                    <a:pt x="43" y="164"/>
                    <a:pt x="41" y="164"/>
                  </a:cubicBezTo>
                  <a:cubicBezTo>
                    <a:pt x="39" y="164"/>
                    <a:pt x="37" y="160"/>
                    <a:pt x="35" y="156"/>
                  </a:cubicBezTo>
                  <a:cubicBezTo>
                    <a:pt x="34" y="151"/>
                    <a:pt x="29" y="146"/>
                    <a:pt x="23" y="144"/>
                  </a:cubicBezTo>
                  <a:cubicBezTo>
                    <a:pt x="18" y="142"/>
                    <a:pt x="12" y="137"/>
                    <a:pt x="11" y="133"/>
                  </a:cubicBezTo>
                  <a:cubicBezTo>
                    <a:pt x="8" y="125"/>
                    <a:pt x="26" y="100"/>
                    <a:pt x="35" y="100"/>
                  </a:cubicBezTo>
                  <a:cubicBezTo>
                    <a:pt x="39" y="100"/>
                    <a:pt x="45" y="96"/>
                    <a:pt x="50" y="93"/>
                  </a:cubicBezTo>
                  <a:cubicBezTo>
                    <a:pt x="55" y="87"/>
                    <a:pt x="63" y="86"/>
                    <a:pt x="80" y="86"/>
                  </a:cubicBezTo>
                  <a:cubicBezTo>
                    <a:pt x="92" y="86"/>
                    <a:pt x="103" y="85"/>
                    <a:pt x="105" y="84"/>
                  </a:cubicBezTo>
                  <a:cubicBezTo>
                    <a:pt x="106" y="82"/>
                    <a:pt x="111" y="79"/>
                    <a:pt x="116" y="77"/>
                  </a:cubicBezTo>
                  <a:cubicBezTo>
                    <a:pt x="123" y="74"/>
                    <a:pt x="126" y="70"/>
                    <a:pt x="126" y="63"/>
                  </a:cubicBezTo>
                  <a:cubicBezTo>
                    <a:pt x="127" y="54"/>
                    <a:pt x="128" y="54"/>
                    <a:pt x="143" y="54"/>
                  </a:cubicBezTo>
                  <a:cubicBezTo>
                    <a:pt x="166" y="56"/>
                    <a:pt x="192" y="52"/>
                    <a:pt x="197" y="46"/>
                  </a:cubicBezTo>
                  <a:cubicBezTo>
                    <a:pt x="204" y="39"/>
                    <a:pt x="235" y="28"/>
                    <a:pt x="245" y="28"/>
                  </a:cubicBezTo>
                  <a:cubicBezTo>
                    <a:pt x="249" y="28"/>
                    <a:pt x="253" y="26"/>
                    <a:pt x="253" y="24"/>
                  </a:cubicBezTo>
                  <a:cubicBezTo>
                    <a:pt x="253" y="21"/>
                    <a:pt x="256" y="20"/>
                    <a:pt x="261" y="20"/>
                  </a:cubicBezTo>
                  <a:cubicBezTo>
                    <a:pt x="268" y="20"/>
                    <a:pt x="269" y="22"/>
                    <a:pt x="269" y="150"/>
                  </a:cubicBezTo>
                  <a:cubicBezTo>
                    <a:pt x="269" y="280"/>
                    <a:pt x="269" y="280"/>
                    <a:pt x="269" y="280"/>
                  </a:cubicBezTo>
                  <a:cubicBezTo>
                    <a:pt x="259" y="280"/>
                    <a:pt x="259" y="280"/>
                    <a:pt x="259" y="280"/>
                  </a:cubicBezTo>
                  <a:cubicBezTo>
                    <a:pt x="253" y="280"/>
                    <a:pt x="247" y="276"/>
                    <a:pt x="245" y="272"/>
                  </a:cubicBezTo>
                  <a:close/>
                  <a:moveTo>
                    <a:pt x="14" y="92"/>
                  </a:moveTo>
                  <a:cubicBezTo>
                    <a:pt x="16" y="90"/>
                    <a:pt x="13" y="79"/>
                    <a:pt x="9" y="69"/>
                  </a:cubicBezTo>
                  <a:cubicBezTo>
                    <a:pt x="0" y="50"/>
                    <a:pt x="0" y="50"/>
                    <a:pt x="0" y="50"/>
                  </a:cubicBezTo>
                  <a:cubicBezTo>
                    <a:pt x="18" y="32"/>
                    <a:pt x="18" y="32"/>
                    <a:pt x="18" y="32"/>
                  </a:cubicBezTo>
                  <a:cubicBezTo>
                    <a:pt x="28" y="22"/>
                    <a:pt x="37" y="11"/>
                    <a:pt x="37" y="8"/>
                  </a:cubicBezTo>
                  <a:cubicBezTo>
                    <a:pt x="37" y="0"/>
                    <a:pt x="49" y="8"/>
                    <a:pt x="55" y="20"/>
                  </a:cubicBezTo>
                  <a:cubicBezTo>
                    <a:pt x="59" y="29"/>
                    <a:pt x="64" y="32"/>
                    <a:pt x="77" y="34"/>
                  </a:cubicBezTo>
                  <a:cubicBezTo>
                    <a:pt x="98" y="37"/>
                    <a:pt x="97" y="46"/>
                    <a:pt x="75" y="56"/>
                  </a:cubicBezTo>
                  <a:cubicBezTo>
                    <a:pt x="65" y="60"/>
                    <a:pt x="57" y="66"/>
                    <a:pt x="57" y="69"/>
                  </a:cubicBezTo>
                  <a:cubicBezTo>
                    <a:pt x="57" y="76"/>
                    <a:pt x="44" y="87"/>
                    <a:pt x="34" y="89"/>
                  </a:cubicBezTo>
                  <a:cubicBezTo>
                    <a:pt x="30" y="90"/>
                    <a:pt x="23" y="92"/>
                    <a:pt x="19" y="94"/>
                  </a:cubicBezTo>
                  <a:cubicBezTo>
                    <a:pt x="14" y="96"/>
                    <a:pt x="12" y="95"/>
                    <a:pt x="14" y="92"/>
                  </a:cubicBezTo>
                  <a:close/>
                </a:path>
              </a:pathLst>
            </a:custGeom>
            <a:solidFill>
              <a:srgbClr val="C5C5C5"/>
            </a:solidFill>
            <a:ln w="33338" cap="flat">
              <a:solidFill>
                <a:srgbClr val="C5C5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88" name="Freeform 42"/>
            <p:cNvSpPr>
              <a:spLocks noEditPoints="1"/>
            </p:cNvSpPr>
            <p:nvPr userDrawn="1"/>
          </p:nvSpPr>
          <p:spPr bwMode="grayWhite">
            <a:xfrm>
              <a:off x="11572875" y="2278063"/>
              <a:ext cx="769938" cy="830263"/>
            </a:xfrm>
            <a:custGeom>
              <a:avLst/>
              <a:gdLst>
                <a:gd name="T0" fmla="*/ 163 w 281"/>
                <a:gd name="T1" fmla="*/ 296 h 299"/>
                <a:gd name="T2" fmla="*/ 176 w 281"/>
                <a:gd name="T3" fmla="*/ 284 h 299"/>
                <a:gd name="T4" fmla="*/ 191 w 281"/>
                <a:gd name="T5" fmla="*/ 284 h 299"/>
                <a:gd name="T6" fmla="*/ 198 w 281"/>
                <a:gd name="T7" fmla="*/ 284 h 299"/>
                <a:gd name="T8" fmla="*/ 227 w 281"/>
                <a:gd name="T9" fmla="*/ 277 h 299"/>
                <a:gd name="T10" fmla="*/ 258 w 281"/>
                <a:gd name="T11" fmla="*/ 271 h 299"/>
                <a:gd name="T12" fmla="*/ 265 w 281"/>
                <a:gd name="T13" fmla="*/ 271 h 299"/>
                <a:gd name="T14" fmla="*/ 240 w 281"/>
                <a:gd name="T15" fmla="*/ 288 h 299"/>
                <a:gd name="T16" fmla="*/ 210 w 281"/>
                <a:gd name="T17" fmla="*/ 295 h 299"/>
                <a:gd name="T18" fmla="*/ 171 w 281"/>
                <a:gd name="T19" fmla="*/ 298 h 299"/>
                <a:gd name="T20" fmla="*/ 163 w 281"/>
                <a:gd name="T21" fmla="*/ 296 h 299"/>
                <a:gd name="T22" fmla="*/ 100 w 281"/>
                <a:gd name="T23" fmla="*/ 243 h 299"/>
                <a:gd name="T24" fmla="*/ 87 w 281"/>
                <a:gd name="T25" fmla="*/ 242 h 299"/>
                <a:gd name="T26" fmla="*/ 76 w 281"/>
                <a:gd name="T27" fmla="*/ 243 h 299"/>
                <a:gd name="T28" fmla="*/ 73 w 281"/>
                <a:gd name="T29" fmla="*/ 231 h 299"/>
                <a:gd name="T30" fmla="*/ 61 w 281"/>
                <a:gd name="T31" fmla="*/ 216 h 299"/>
                <a:gd name="T32" fmla="*/ 51 w 281"/>
                <a:gd name="T33" fmla="*/ 202 h 299"/>
                <a:gd name="T34" fmla="*/ 100 w 281"/>
                <a:gd name="T35" fmla="*/ 185 h 299"/>
                <a:gd name="T36" fmla="*/ 111 w 281"/>
                <a:gd name="T37" fmla="*/ 184 h 299"/>
                <a:gd name="T38" fmla="*/ 112 w 281"/>
                <a:gd name="T39" fmla="*/ 177 h 299"/>
                <a:gd name="T40" fmla="*/ 74 w 281"/>
                <a:gd name="T41" fmla="*/ 177 h 299"/>
                <a:gd name="T42" fmla="*/ 52 w 281"/>
                <a:gd name="T43" fmla="*/ 183 h 299"/>
                <a:gd name="T44" fmla="*/ 30 w 281"/>
                <a:gd name="T45" fmla="*/ 168 h 299"/>
                <a:gd name="T46" fmla="*/ 37 w 281"/>
                <a:gd name="T47" fmla="*/ 164 h 299"/>
                <a:gd name="T48" fmla="*/ 22 w 281"/>
                <a:gd name="T49" fmla="*/ 158 h 299"/>
                <a:gd name="T50" fmla="*/ 2 w 281"/>
                <a:gd name="T51" fmla="*/ 122 h 299"/>
                <a:gd name="T52" fmla="*/ 24 w 281"/>
                <a:gd name="T53" fmla="*/ 74 h 299"/>
                <a:gd name="T54" fmla="*/ 38 w 281"/>
                <a:gd name="T55" fmla="*/ 60 h 299"/>
                <a:gd name="T56" fmla="*/ 59 w 281"/>
                <a:gd name="T57" fmla="*/ 44 h 299"/>
                <a:gd name="T58" fmla="*/ 77 w 281"/>
                <a:gd name="T59" fmla="*/ 32 h 299"/>
                <a:gd name="T60" fmla="*/ 82 w 281"/>
                <a:gd name="T61" fmla="*/ 28 h 299"/>
                <a:gd name="T62" fmla="*/ 100 w 281"/>
                <a:gd name="T63" fmla="*/ 17 h 299"/>
                <a:gd name="T64" fmla="*/ 132 w 281"/>
                <a:gd name="T65" fmla="*/ 10 h 299"/>
                <a:gd name="T66" fmla="*/ 162 w 281"/>
                <a:gd name="T67" fmla="*/ 6 h 299"/>
                <a:gd name="T68" fmla="*/ 176 w 281"/>
                <a:gd name="T69" fmla="*/ 12 h 299"/>
                <a:gd name="T70" fmla="*/ 181 w 281"/>
                <a:gd name="T71" fmla="*/ 26 h 299"/>
                <a:gd name="T72" fmla="*/ 159 w 281"/>
                <a:gd name="T73" fmla="*/ 28 h 299"/>
                <a:gd name="T74" fmla="*/ 137 w 281"/>
                <a:gd name="T75" fmla="*/ 32 h 299"/>
                <a:gd name="T76" fmla="*/ 130 w 281"/>
                <a:gd name="T77" fmla="*/ 36 h 299"/>
                <a:gd name="T78" fmla="*/ 118 w 281"/>
                <a:gd name="T79" fmla="*/ 44 h 299"/>
                <a:gd name="T80" fmla="*/ 105 w 281"/>
                <a:gd name="T81" fmla="*/ 52 h 299"/>
                <a:gd name="T82" fmla="*/ 105 w 281"/>
                <a:gd name="T83" fmla="*/ 60 h 299"/>
                <a:gd name="T84" fmla="*/ 118 w 281"/>
                <a:gd name="T85" fmla="*/ 68 h 299"/>
                <a:gd name="T86" fmla="*/ 111 w 281"/>
                <a:gd name="T87" fmla="*/ 75 h 299"/>
                <a:gd name="T88" fmla="*/ 84 w 281"/>
                <a:gd name="T89" fmla="*/ 77 h 299"/>
                <a:gd name="T90" fmla="*/ 69 w 281"/>
                <a:gd name="T91" fmla="*/ 90 h 299"/>
                <a:gd name="T92" fmla="*/ 134 w 281"/>
                <a:gd name="T93" fmla="*/ 146 h 299"/>
                <a:gd name="T94" fmla="*/ 134 w 281"/>
                <a:gd name="T95" fmla="*/ 154 h 299"/>
                <a:gd name="T96" fmla="*/ 101 w 281"/>
                <a:gd name="T97" fmla="*/ 149 h 299"/>
                <a:gd name="T98" fmla="*/ 121 w 281"/>
                <a:gd name="T99" fmla="*/ 160 h 299"/>
                <a:gd name="T100" fmla="*/ 149 w 281"/>
                <a:gd name="T101" fmla="*/ 182 h 299"/>
                <a:gd name="T102" fmla="*/ 137 w 281"/>
                <a:gd name="T103" fmla="*/ 182 h 299"/>
                <a:gd name="T104" fmla="*/ 119 w 281"/>
                <a:gd name="T105" fmla="*/ 185 h 299"/>
                <a:gd name="T106" fmla="*/ 123 w 281"/>
                <a:gd name="T107" fmla="*/ 199 h 299"/>
                <a:gd name="T108" fmla="*/ 117 w 281"/>
                <a:gd name="T109" fmla="*/ 208 h 299"/>
                <a:gd name="T110" fmla="*/ 115 w 281"/>
                <a:gd name="T111" fmla="*/ 223 h 299"/>
                <a:gd name="T112" fmla="*/ 119 w 281"/>
                <a:gd name="T113" fmla="*/ 242 h 299"/>
                <a:gd name="T114" fmla="*/ 110 w 281"/>
                <a:gd name="T115" fmla="*/ 245 h 299"/>
                <a:gd name="T116" fmla="*/ 100 w 281"/>
                <a:gd name="T117" fmla="*/ 243 h 299"/>
                <a:gd name="T118" fmla="*/ 258 w 281"/>
                <a:gd name="T119" fmla="*/ 231 h 299"/>
                <a:gd name="T120" fmla="*/ 271 w 281"/>
                <a:gd name="T121" fmla="*/ 216 h 299"/>
                <a:gd name="T122" fmla="*/ 275 w 281"/>
                <a:gd name="T123" fmla="*/ 231 h 299"/>
                <a:gd name="T124" fmla="*/ 258 w 281"/>
                <a:gd name="T125" fmla="*/ 2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1" h="299">
                  <a:moveTo>
                    <a:pt x="163" y="296"/>
                  </a:moveTo>
                  <a:cubicBezTo>
                    <a:pt x="159" y="290"/>
                    <a:pt x="161" y="288"/>
                    <a:pt x="176" y="284"/>
                  </a:cubicBezTo>
                  <a:cubicBezTo>
                    <a:pt x="184" y="281"/>
                    <a:pt x="189" y="282"/>
                    <a:pt x="191" y="284"/>
                  </a:cubicBezTo>
                  <a:cubicBezTo>
                    <a:pt x="192" y="286"/>
                    <a:pt x="195" y="287"/>
                    <a:pt x="198" y="284"/>
                  </a:cubicBezTo>
                  <a:cubicBezTo>
                    <a:pt x="200" y="282"/>
                    <a:pt x="213" y="279"/>
                    <a:pt x="227" y="277"/>
                  </a:cubicBezTo>
                  <a:cubicBezTo>
                    <a:pt x="240" y="276"/>
                    <a:pt x="254" y="273"/>
                    <a:pt x="258" y="271"/>
                  </a:cubicBezTo>
                  <a:cubicBezTo>
                    <a:pt x="262" y="269"/>
                    <a:pt x="265" y="269"/>
                    <a:pt x="265" y="271"/>
                  </a:cubicBezTo>
                  <a:cubicBezTo>
                    <a:pt x="265" y="274"/>
                    <a:pt x="254" y="281"/>
                    <a:pt x="240" y="288"/>
                  </a:cubicBezTo>
                  <a:cubicBezTo>
                    <a:pt x="221" y="297"/>
                    <a:pt x="215" y="299"/>
                    <a:pt x="210" y="295"/>
                  </a:cubicBezTo>
                  <a:cubicBezTo>
                    <a:pt x="205" y="291"/>
                    <a:pt x="185" y="292"/>
                    <a:pt x="171" y="298"/>
                  </a:cubicBezTo>
                  <a:cubicBezTo>
                    <a:pt x="168" y="299"/>
                    <a:pt x="164" y="298"/>
                    <a:pt x="163" y="296"/>
                  </a:cubicBezTo>
                  <a:close/>
                  <a:moveTo>
                    <a:pt x="100" y="243"/>
                  </a:moveTo>
                  <a:cubicBezTo>
                    <a:pt x="94" y="235"/>
                    <a:pt x="94" y="235"/>
                    <a:pt x="87" y="242"/>
                  </a:cubicBezTo>
                  <a:cubicBezTo>
                    <a:pt x="81" y="248"/>
                    <a:pt x="79" y="248"/>
                    <a:pt x="76" y="243"/>
                  </a:cubicBezTo>
                  <a:cubicBezTo>
                    <a:pt x="74" y="240"/>
                    <a:pt x="73" y="235"/>
                    <a:pt x="73" y="231"/>
                  </a:cubicBezTo>
                  <a:cubicBezTo>
                    <a:pt x="73" y="228"/>
                    <a:pt x="67" y="221"/>
                    <a:pt x="61" y="216"/>
                  </a:cubicBezTo>
                  <a:cubicBezTo>
                    <a:pt x="54" y="211"/>
                    <a:pt x="50" y="205"/>
                    <a:pt x="51" y="202"/>
                  </a:cubicBezTo>
                  <a:cubicBezTo>
                    <a:pt x="53" y="195"/>
                    <a:pt x="94" y="182"/>
                    <a:pt x="100" y="185"/>
                  </a:cubicBezTo>
                  <a:cubicBezTo>
                    <a:pt x="103" y="187"/>
                    <a:pt x="107" y="186"/>
                    <a:pt x="111" y="184"/>
                  </a:cubicBezTo>
                  <a:cubicBezTo>
                    <a:pt x="116" y="182"/>
                    <a:pt x="116" y="180"/>
                    <a:pt x="112" y="177"/>
                  </a:cubicBezTo>
                  <a:cubicBezTo>
                    <a:pt x="103" y="170"/>
                    <a:pt x="87" y="170"/>
                    <a:pt x="74" y="177"/>
                  </a:cubicBezTo>
                  <a:cubicBezTo>
                    <a:pt x="67" y="180"/>
                    <a:pt x="57" y="183"/>
                    <a:pt x="52" y="183"/>
                  </a:cubicBezTo>
                  <a:cubicBezTo>
                    <a:pt x="41" y="182"/>
                    <a:pt x="20" y="168"/>
                    <a:pt x="30" y="168"/>
                  </a:cubicBezTo>
                  <a:cubicBezTo>
                    <a:pt x="34" y="168"/>
                    <a:pt x="37" y="166"/>
                    <a:pt x="37" y="164"/>
                  </a:cubicBezTo>
                  <a:cubicBezTo>
                    <a:pt x="37" y="159"/>
                    <a:pt x="36" y="159"/>
                    <a:pt x="22" y="158"/>
                  </a:cubicBezTo>
                  <a:cubicBezTo>
                    <a:pt x="4" y="156"/>
                    <a:pt x="0" y="149"/>
                    <a:pt x="2" y="122"/>
                  </a:cubicBezTo>
                  <a:cubicBezTo>
                    <a:pt x="4" y="92"/>
                    <a:pt x="9" y="82"/>
                    <a:pt x="24" y="74"/>
                  </a:cubicBezTo>
                  <a:cubicBezTo>
                    <a:pt x="31" y="70"/>
                    <a:pt x="37" y="64"/>
                    <a:pt x="38" y="60"/>
                  </a:cubicBezTo>
                  <a:cubicBezTo>
                    <a:pt x="40" y="56"/>
                    <a:pt x="49" y="49"/>
                    <a:pt x="59" y="44"/>
                  </a:cubicBezTo>
                  <a:cubicBezTo>
                    <a:pt x="68" y="40"/>
                    <a:pt x="77" y="34"/>
                    <a:pt x="77" y="32"/>
                  </a:cubicBezTo>
                  <a:cubicBezTo>
                    <a:pt x="77" y="29"/>
                    <a:pt x="79" y="28"/>
                    <a:pt x="82" y="28"/>
                  </a:cubicBezTo>
                  <a:cubicBezTo>
                    <a:pt x="85" y="28"/>
                    <a:pt x="93" y="23"/>
                    <a:pt x="100" y="17"/>
                  </a:cubicBezTo>
                  <a:cubicBezTo>
                    <a:pt x="111" y="8"/>
                    <a:pt x="114" y="7"/>
                    <a:pt x="132" y="10"/>
                  </a:cubicBezTo>
                  <a:cubicBezTo>
                    <a:pt x="147" y="12"/>
                    <a:pt x="155" y="11"/>
                    <a:pt x="162" y="6"/>
                  </a:cubicBezTo>
                  <a:cubicBezTo>
                    <a:pt x="172" y="0"/>
                    <a:pt x="172" y="0"/>
                    <a:pt x="176" y="12"/>
                  </a:cubicBezTo>
                  <a:cubicBezTo>
                    <a:pt x="179" y="19"/>
                    <a:pt x="181" y="25"/>
                    <a:pt x="181" y="26"/>
                  </a:cubicBezTo>
                  <a:cubicBezTo>
                    <a:pt x="181" y="27"/>
                    <a:pt x="171" y="28"/>
                    <a:pt x="159" y="28"/>
                  </a:cubicBezTo>
                  <a:cubicBezTo>
                    <a:pt x="146" y="28"/>
                    <a:pt x="137" y="29"/>
                    <a:pt x="137" y="32"/>
                  </a:cubicBezTo>
                  <a:cubicBezTo>
                    <a:pt x="137" y="34"/>
                    <a:pt x="134" y="36"/>
                    <a:pt x="130" y="36"/>
                  </a:cubicBezTo>
                  <a:cubicBezTo>
                    <a:pt x="127" y="36"/>
                    <a:pt x="121" y="39"/>
                    <a:pt x="118" y="44"/>
                  </a:cubicBezTo>
                  <a:cubicBezTo>
                    <a:pt x="114" y="48"/>
                    <a:pt x="108" y="52"/>
                    <a:pt x="105" y="52"/>
                  </a:cubicBezTo>
                  <a:cubicBezTo>
                    <a:pt x="101" y="52"/>
                    <a:pt x="101" y="53"/>
                    <a:pt x="105" y="60"/>
                  </a:cubicBezTo>
                  <a:cubicBezTo>
                    <a:pt x="107" y="64"/>
                    <a:pt x="113" y="68"/>
                    <a:pt x="118" y="68"/>
                  </a:cubicBezTo>
                  <a:cubicBezTo>
                    <a:pt x="124" y="68"/>
                    <a:pt x="123" y="70"/>
                    <a:pt x="111" y="75"/>
                  </a:cubicBezTo>
                  <a:cubicBezTo>
                    <a:pt x="97" y="81"/>
                    <a:pt x="93" y="82"/>
                    <a:pt x="84" y="77"/>
                  </a:cubicBezTo>
                  <a:cubicBezTo>
                    <a:pt x="71" y="71"/>
                    <a:pt x="69" y="73"/>
                    <a:pt x="69" y="90"/>
                  </a:cubicBezTo>
                  <a:cubicBezTo>
                    <a:pt x="69" y="115"/>
                    <a:pt x="96" y="139"/>
                    <a:pt x="134" y="146"/>
                  </a:cubicBezTo>
                  <a:cubicBezTo>
                    <a:pt x="151" y="150"/>
                    <a:pt x="152" y="157"/>
                    <a:pt x="134" y="154"/>
                  </a:cubicBezTo>
                  <a:cubicBezTo>
                    <a:pt x="126" y="152"/>
                    <a:pt x="110" y="150"/>
                    <a:pt x="101" y="149"/>
                  </a:cubicBezTo>
                  <a:cubicBezTo>
                    <a:pt x="81" y="148"/>
                    <a:pt x="85" y="150"/>
                    <a:pt x="121" y="160"/>
                  </a:cubicBezTo>
                  <a:cubicBezTo>
                    <a:pt x="139" y="165"/>
                    <a:pt x="149" y="173"/>
                    <a:pt x="149" y="182"/>
                  </a:cubicBezTo>
                  <a:cubicBezTo>
                    <a:pt x="149" y="186"/>
                    <a:pt x="146" y="186"/>
                    <a:pt x="137" y="182"/>
                  </a:cubicBezTo>
                  <a:cubicBezTo>
                    <a:pt x="128" y="179"/>
                    <a:pt x="124" y="179"/>
                    <a:pt x="119" y="185"/>
                  </a:cubicBezTo>
                  <a:cubicBezTo>
                    <a:pt x="113" y="190"/>
                    <a:pt x="113" y="192"/>
                    <a:pt x="123" y="199"/>
                  </a:cubicBezTo>
                  <a:cubicBezTo>
                    <a:pt x="134" y="208"/>
                    <a:pt x="129" y="214"/>
                    <a:pt x="117" y="208"/>
                  </a:cubicBezTo>
                  <a:cubicBezTo>
                    <a:pt x="101" y="199"/>
                    <a:pt x="100" y="206"/>
                    <a:pt x="115" y="223"/>
                  </a:cubicBezTo>
                  <a:cubicBezTo>
                    <a:pt x="126" y="236"/>
                    <a:pt x="128" y="246"/>
                    <a:pt x="119" y="242"/>
                  </a:cubicBezTo>
                  <a:cubicBezTo>
                    <a:pt x="115" y="241"/>
                    <a:pt x="111" y="242"/>
                    <a:pt x="110" y="245"/>
                  </a:cubicBezTo>
                  <a:cubicBezTo>
                    <a:pt x="107" y="249"/>
                    <a:pt x="105" y="249"/>
                    <a:pt x="100" y="243"/>
                  </a:cubicBezTo>
                  <a:close/>
                  <a:moveTo>
                    <a:pt x="258" y="231"/>
                  </a:moveTo>
                  <a:cubicBezTo>
                    <a:pt x="255" y="226"/>
                    <a:pt x="264" y="216"/>
                    <a:pt x="271" y="216"/>
                  </a:cubicBezTo>
                  <a:cubicBezTo>
                    <a:pt x="278" y="216"/>
                    <a:pt x="281" y="226"/>
                    <a:pt x="275" y="231"/>
                  </a:cubicBezTo>
                  <a:cubicBezTo>
                    <a:pt x="270" y="237"/>
                    <a:pt x="262" y="237"/>
                    <a:pt x="258" y="231"/>
                  </a:cubicBezTo>
                  <a:close/>
                </a:path>
              </a:pathLst>
            </a:custGeom>
            <a:solidFill>
              <a:srgbClr val="C5C5C5"/>
            </a:solidFill>
            <a:ln w="33338" cap="flat">
              <a:solidFill>
                <a:srgbClr val="C5C5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89" name="Freeform 43"/>
            <p:cNvSpPr>
              <a:spLocks/>
            </p:cNvSpPr>
            <p:nvPr userDrawn="1"/>
          </p:nvSpPr>
          <p:spPr bwMode="grayWhite">
            <a:xfrm>
              <a:off x="8847138" y="928687"/>
              <a:ext cx="334963" cy="468313"/>
            </a:xfrm>
            <a:custGeom>
              <a:avLst/>
              <a:gdLst>
                <a:gd name="T0" fmla="*/ 25 w 122"/>
                <a:gd name="T1" fmla="*/ 167 h 169"/>
                <a:gd name="T2" fmla="*/ 18 w 122"/>
                <a:gd name="T3" fmla="*/ 159 h 169"/>
                <a:gd name="T4" fmla="*/ 16 w 122"/>
                <a:gd name="T5" fmla="*/ 154 h 169"/>
                <a:gd name="T6" fmla="*/ 14 w 122"/>
                <a:gd name="T7" fmla="*/ 149 h 169"/>
                <a:gd name="T8" fmla="*/ 8 w 122"/>
                <a:gd name="T9" fmla="*/ 147 h 169"/>
                <a:gd name="T10" fmla="*/ 0 w 122"/>
                <a:gd name="T11" fmla="*/ 146 h 169"/>
                <a:gd name="T12" fmla="*/ 11 w 122"/>
                <a:gd name="T13" fmla="*/ 139 h 169"/>
                <a:gd name="T14" fmla="*/ 22 w 122"/>
                <a:gd name="T15" fmla="*/ 136 h 169"/>
                <a:gd name="T16" fmla="*/ 12 w 122"/>
                <a:gd name="T17" fmla="*/ 133 h 169"/>
                <a:gd name="T18" fmla="*/ 8 w 122"/>
                <a:gd name="T19" fmla="*/ 130 h 169"/>
                <a:gd name="T20" fmla="*/ 21 w 122"/>
                <a:gd name="T21" fmla="*/ 111 h 169"/>
                <a:gd name="T22" fmla="*/ 23 w 122"/>
                <a:gd name="T23" fmla="*/ 77 h 169"/>
                <a:gd name="T24" fmla="*/ 23 w 122"/>
                <a:gd name="T25" fmla="*/ 66 h 169"/>
                <a:gd name="T26" fmla="*/ 25 w 122"/>
                <a:gd name="T27" fmla="*/ 54 h 169"/>
                <a:gd name="T28" fmla="*/ 24 w 122"/>
                <a:gd name="T29" fmla="*/ 43 h 169"/>
                <a:gd name="T30" fmla="*/ 38 w 122"/>
                <a:gd name="T31" fmla="*/ 38 h 169"/>
                <a:gd name="T32" fmla="*/ 64 w 122"/>
                <a:gd name="T33" fmla="*/ 34 h 169"/>
                <a:gd name="T34" fmla="*/ 66 w 122"/>
                <a:gd name="T35" fmla="*/ 23 h 169"/>
                <a:gd name="T36" fmla="*/ 83 w 122"/>
                <a:gd name="T37" fmla="*/ 4 h 169"/>
                <a:gd name="T38" fmla="*/ 85 w 122"/>
                <a:gd name="T39" fmla="*/ 22 h 169"/>
                <a:gd name="T40" fmla="*/ 81 w 122"/>
                <a:gd name="T41" fmla="*/ 43 h 169"/>
                <a:gd name="T42" fmla="*/ 98 w 122"/>
                <a:gd name="T43" fmla="*/ 48 h 169"/>
                <a:gd name="T44" fmla="*/ 113 w 122"/>
                <a:gd name="T45" fmla="*/ 56 h 169"/>
                <a:gd name="T46" fmla="*/ 114 w 122"/>
                <a:gd name="T47" fmla="*/ 131 h 169"/>
                <a:gd name="T48" fmla="*/ 89 w 122"/>
                <a:gd name="T49" fmla="*/ 143 h 169"/>
                <a:gd name="T50" fmla="*/ 74 w 122"/>
                <a:gd name="T51" fmla="*/ 146 h 169"/>
                <a:gd name="T52" fmla="*/ 65 w 122"/>
                <a:gd name="T53" fmla="*/ 152 h 169"/>
                <a:gd name="T54" fmla="*/ 47 w 122"/>
                <a:gd name="T55" fmla="*/ 162 h 169"/>
                <a:gd name="T56" fmla="*/ 37 w 122"/>
                <a:gd name="T57" fmla="*/ 169 h 169"/>
                <a:gd name="T58" fmla="*/ 25 w 122"/>
                <a:gd name="T59" fmla="*/ 167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2" h="169">
                  <a:moveTo>
                    <a:pt x="25" y="167"/>
                  </a:moveTo>
                  <a:cubicBezTo>
                    <a:pt x="19" y="166"/>
                    <a:pt x="17" y="163"/>
                    <a:pt x="18" y="159"/>
                  </a:cubicBezTo>
                  <a:cubicBezTo>
                    <a:pt x="19" y="156"/>
                    <a:pt x="18" y="154"/>
                    <a:pt x="16" y="154"/>
                  </a:cubicBezTo>
                  <a:cubicBezTo>
                    <a:pt x="13" y="154"/>
                    <a:pt x="12" y="152"/>
                    <a:pt x="14" y="149"/>
                  </a:cubicBezTo>
                  <a:cubicBezTo>
                    <a:pt x="16" y="146"/>
                    <a:pt x="14" y="146"/>
                    <a:pt x="8" y="147"/>
                  </a:cubicBezTo>
                  <a:cubicBezTo>
                    <a:pt x="3" y="149"/>
                    <a:pt x="0" y="148"/>
                    <a:pt x="0" y="146"/>
                  </a:cubicBezTo>
                  <a:cubicBezTo>
                    <a:pt x="0" y="144"/>
                    <a:pt x="5" y="141"/>
                    <a:pt x="11" y="139"/>
                  </a:cubicBezTo>
                  <a:cubicBezTo>
                    <a:pt x="22" y="136"/>
                    <a:pt x="22" y="136"/>
                    <a:pt x="22" y="136"/>
                  </a:cubicBezTo>
                  <a:cubicBezTo>
                    <a:pt x="12" y="133"/>
                    <a:pt x="12" y="133"/>
                    <a:pt x="12" y="133"/>
                  </a:cubicBezTo>
                  <a:cubicBezTo>
                    <a:pt x="6" y="132"/>
                    <a:pt x="4" y="130"/>
                    <a:pt x="8" y="130"/>
                  </a:cubicBezTo>
                  <a:cubicBezTo>
                    <a:pt x="12" y="130"/>
                    <a:pt x="17" y="123"/>
                    <a:pt x="21" y="111"/>
                  </a:cubicBezTo>
                  <a:cubicBezTo>
                    <a:pt x="29" y="89"/>
                    <a:pt x="29" y="79"/>
                    <a:pt x="23" y="77"/>
                  </a:cubicBezTo>
                  <a:cubicBezTo>
                    <a:pt x="20" y="76"/>
                    <a:pt x="20" y="73"/>
                    <a:pt x="23" y="66"/>
                  </a:cubicBezTo>
                  <a:cubicBezTo>
                    <a:pt x="27" y="60"/>
                    <a:pt x="27" y="56"/>
                    <a:pt x="25" y="54"/>
                  </a:cubicBezTo>
                  <a:cubicBezTo>
                    <a:pt x="22" y="53"/>
                    <a:pt x="22" y="48"/>
                    <a:pt x="24" y="43"/>
                  </a:cubicBezTo>
                  <a:cubicBezTo>
                    <a:pt x="28" y="33"/>
                    <a:pt x="34" y="31"/>
                    <a:pt x="38" y="38"/>
                  </a:cubicBezTo>
                  <a:cubicBezTo>
                    <a:pt x="42" y="44"/>
                    <a:pt x="55" y="42"/>
                    <a:pt x="64" y="34"/>
                  </a:cubicBezTo>
                  <a:cubicBezTo>
                    <a:pt x="71" y="27"/>
                    <a:pt x="72" y="26"/>
                    <a:pt x="66" y="23"/>
                  </a:cubicBezTo>
                  <a:cubicBezTo>
                    <a:pt x="57" y="18"/>
                    <a:pt x="66" y="7"/>
                    <a:pt x="83" y="4"/>
                  </a:cubicBezTo>
                  <a:cubicBezTo>
                    <a:pt x="99" y="0"/>
                    <a:pt x="100" y="7"/>
                    <a:pt x="85" y="22"/>
                  </a:cubicBezTo>
                  <a:cubicBezTo>
                    <a:pt x="75" y="33"/>
                    <a:pt x="75" y="34"/>
                    <a:pt x="81" y="43"/>
                  </a:cubicBezTo>
                  <a:cubicBezTo>
                    <a:pt x="89" y="55"/>
                    <a:pt x="95" y="56"/>
                    <a:pt x="98" y="48"/>
                  </a:cubicBezTo>
                  <a:cubicBezTo>
                    <a:pt x="102" y="38"/>
                    <a:pt x="106" y="40"/>
                    <a:pt x="113" y="56"/>
                  </a:cubicBezTo>
                  <a:cubicBezTo>
                    <a:pt x="121" y="74"/>
                    <a:pt x="122" y="114"/>
                    <a:pt x="114" y="131"/>
                  </a:cubicBezTo>
                  <a:cubicBezTo>
                    <a:pt x="108" y="143"/>
                    <a:pt x="106" y="144"/>
                    <a:pt x="89" y="143"/>
                  </a:cubicBezTo>
                  <a:cubicBezTo>
                    <a:pt x="79" y="142"/>
                    <a:pt x="72" y="144"/>
                    <a:pt x="74" y="146"/>
                  </a:cubicBezTo>
                  <a:cubicBezTo>
                    <a:pt x="75" y="148"/>
                    <a:pt x="71" y="151"/>
                    <a:pt x="65" y="152"/>
                  </a:cubicBezTo>
                  <a:cubicBezTo>
                    <a:pt x="59" y="154"/>
                    <a:pt x="51" y="158"/>
                    <a:pt x="47" y="162"/>
                  </a:cubicBezTo>
                  <a:cubicBezTo>
                    <a:pt x="43" y="166"/>
                    <a:pt x="38" y="169"/>
                    <a:pt x="37" y="169"/>
                  </a:cubicBezTo>
                  <a:cubicBezTo>
                    <a:pt x="35" y="169"/>
                    <a:pt x="30" y="168"/>
                    <a:pt x="25" y="167"/>
                  </a:cubicBezTo>
                  <a:close/>
                </a:path>
              </a:pathLst>
            </a:custGeom>
            <a:solidFill>
              <a:srgbClr val="C5C5C5"/>
            </a:solidFill>
            <a:ln w="33338" cap="flat">
              <a:solidFill>
                <a:srgbClr val="C5C5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grpSp>
      <p:grpSp>
        <p:nvGrpSpPr>
          <p:cNvPr id="493" name="Group 492"/>
          <p:cNvGrpSpPr/>
          <p:nvPr userDrawn="1"/>
        </p:nvGrpSpPr>
        <p:grpSpPr bwMode="black">
          <a:xfrm>
            <a:off x="9268085" y="168166"/>
            <a:ext cx="1757363" cy="2408239"/>
            <a:chOff x="9064625" y="242887"/>
            <a:chExt cx="1757363" cy="2408239"/>
          </a:xfrm>
        </p:grpSpPr>
        <p:sp>
          <p:nvSpPr>
            <p:cNvPr id="490" name="Freeform 44"/>
            <p:cNvSpPr>
              <a:spLocks noEditPoints="1"/>
            </p:cNvSpPr>
            <p:nvPr userDrawn="1"/>
          </p:nvSpPr>
          <p:spPr bwMode="black">
            <a:xfrm>
              <a:off x="9064625" y="242887"/>
              <a:ext cx="696913" cy="1350963"/>
            </a:xfrm>
            <a:custGeom>
              <a:avLst/>
              <a:gdLst>
                <a:gd name="T0" fmla="*/ 49 w 255"/>
                <a:gd name="T1" fmla="*/ 482 h 487"/>
                <a:gd name="T2" fmla="*/ 72 w 255"/>
                <a:gd name="T3" fmla="*/ 466 h 487"/>
                <a:gd name="T4" fmla="*/ 110 w 255"/>
                <a:gd name="T5" fmla="*/ 442 h 487"/>
                <a:gd name="T6" fmla="*/ 118 w 255"/>
                <a:gd name="T7" fmla="*/ 428 h 487"/>
                <a:gd name="T8" fmla="*/ 79 w 255"/>
                <a:gd name="T9" fmla="*/ 415 h 487"/>
                <a:gd name="T10" fmla="*/ 71 w 255"/>
                <a:gd name="T11" fmla="*/ 402 h 487"/>
                <a:gd name="T12" fmla="*/ 89 w 255"/>
                <a:gd name="T13" fmla="*/ 365 h 487"/>
                <a:gd name="T14" fmla="*/ 85 w 255"/>
                <a:gd name="T15" fmla="*/ 348 h 487"/>
                <a:gd name="T16" fmla="*/ 124 w 255"/>
                <a:gd name="T17" fmla="*/ 340 h 487"/>
                <a:gd name="T18" fmla="*/ 126 w 255"/>
                <a:gd name="T19" fmla="*/ 303 h 487"/>
                <a:gd name="T20" fmla="*/ 118 w 255"/>
                <a:gd name="T21" fmla="*/ 272 h 487"/>
                <a:gd name="T22" fmla="*/ 80 w 255"/>
                <a:gd name="T23" fmla="*/ 258 h 487"/>
                <a:gd name="T24" fmla="*/ 88 w 255"/>
                <a:gd name="T25" fmla="*/ 226 h 487"/>
                <a:gd name="T26" fmla="*/ 73 w 255"/>
                <a:gd name="T27" fmla="*/ 218 h 487"/>
                <a:gd name="T28" fmla="*/ 65 w 255"/>
                <a:gd name="T29" fmla="*/ 209 h 487"/>
                <a:gd name="T30" fmla="*/ 74 w 255"/>
                <a:gd name="T31" fmla="*/ 131 h 487"/>
                <a:gd name="T32" fmla="*/ 112 w 255"/>
                <a:gd name="T33" fmla="*/ 101 h 487"/>
                <a:gd name="T34" fmla="*/ 118 w 255"/>
                <a:gd name="T35" fmla="*/ 122 h 487"/>
                <a:gd name="T36" fmla="*/ 110 w 255"/>
                <a:gd name="T37" fmla="*/ 140 h 487"/>
                <a:gd name="T38" fmla="*/ 111 w 255"/>
                <a:gd name="T39" fmla="*/ 148 h 487"/>
                <a:gd name="T40" fmla="*/ 153 w 255"/>
                <a:gd name="T41" fmla="*/ 173 h 487"/>
                <a:gd name="T42" fmla="*/ 136 w 255"/>
                <a:gd name="T43" fmla="*/ 203 h 487"/>
                <a:gd name="T44" fmla="*/ 127 w 255"/>
                <a:gd name="T45" fmla="*/ 218 h 487"/>
                <a:gd name="T46" fmla="*/ 155 w 255"/>
                <a:gd name="T47" fmla="*/ 230 h 487"/>
                <a:gd name="T48" fmla="*/ 175 w 255"/>
                <a:gd name="T49" fmla="*/ 277 h 487"/>
                <a:gd name="T50" fmla="*/ 209 w 255"/>
                <a:gd name="T51" fmla="*/ 332 h 487"/>
                <a:gd name="T52" fmla="*/ 223 w 255"/>
                <a:gd name="T53" fmla="*/ 367 h 487"/>
                <a:gd name="T54" fmla="*/ 237 w 255"/>
                <a:gd name="T55" fmla="*/ 415 h 487"/>
                <a:gd name="T56" fmla="*/ 245 w 255"/>
                <a:gd name="T57" fmla="*/ 435 h 487"/>
                <a:gd name="T58" fmla="*/ 197 w 255"/>
                <a:gd name="T59" fmla="*/ 460 h 487"/>
                <a:gd name="T60" fmla="*/ 128 w 255"/>
                <a:gd name="T61" fmla="*/ 464 h 487"/>
                <a:gd name="T62" fmla="*/ 90 w 255"/>
                <a:gd name="T63" fmla="*/ 479 h 487"/>
                <a:gd name="T64" fmla="*/ 48 w 255"/>
                <a:gd name="T65" fmla="*/ 485 h 487"/>
                <a:gd name="T66" fmla="*/ 18 w 255"/>
                <a:gd name="T67" fmla="*/ 292 h 487"/>
                <a:gd name="T68" fmla="*/ 11 w 255"/>
                <a:gd name="T69" fmla="*/ 269 h 487"/>
                <a:gd name="T70" fmla="*/ 27 w 255"/>
                <a:gd name="T71" fmla="*/ 250 h 487"/>
                <a:gd name="T72" fmla="*/ 56 w 255"/>
                <a:gd name="T73" fmla="*/ 270 h 487"/>
                <a:gd name="T74" fmla="*/ 55 w 255"/>
                <a:gd name="T75" fmla="*/ 296 h 487"/>
                <a:gd name="T76" fmla="*/ 81 w 255"/>
                <a:gd name="T77" fmla="*/ 304 h 487"/>
                <a:gd name="T78" fmla="*/ 89 w 255"/>
                <a:gd name="T79" fmla="*/ 301 h 487"/>
                <a:gd name="T80" fmla="*/ 81 w 255"/>
                <a:gd name="T81" fmla="*/ 304 h 487"/>
                <a:gd name="T82" fmla="*/ 50 w 255"/>
                <a:gd name="T83" fmla="*/ 144 h 487"/>
                <a:gd name="T84" fmla="*/ 47 w 255"/>
                <a:gd name="T85" fmla="*/ 155 h 487"/>
                <a:gd name="T86" fmla="*/ 49 w 255"/>
                <a:gd name="T87" fmla="*/ 109 h 487"/>
                <a:gd name="T88" fmla="*/ 39 w 255"/>
                <a:gd name="T89" fmla="*/ 126 h 487"/>
                <a:gd name="T90" fmla="*/ 147 w 255"/>
                <a:gd name="T91" fmla="*/ 70 h 487"/>
                <a:gd name="T92" fmla="*/ 140 w 255"/>
                <a:gd name="T93" fmla="*/ 85 h 487"/>
                <a:gd name="T94" fmla="*/ 129 w 255"/>
                <a:gd name="T95" fmla="*/ 87 h 487"/>
                <a:gd name="T96" fmla="*/ 172 w 255"/>
                <a:gd name="T97" fmla="*/ 29 h 487"/>
                <a:gd name="T98" fmla="*/ 191 w 255"/>
                <a:gd name="T99" fmla="*/ 8 h 487"/>
                <a:gd name="T100" fmla="*/ 177 w 255"/>
                <a:gd name="T101" fmla="*/ 37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5" h="487">
                  <a:moveTo>
                    <a:pt x="48" y="485"/>
                  </a:moveTo>
                  <a:cubicBezTo>
                    <a:pt x="44" y="482"/>
                    <a:pt x="44" y="482"/>
                    <a:pt x="49" y="482"/>
                  </a:cubicBezTo>
                  <a:cubicBezTo>
                    <a:pt x="53" y="482"/>
                    <a:pt x="58" y="479"/>
                    <a:pt x="59" y="476"/>
                  </a:cubicBezTo>
                  <a:cubicBezTo>
                    <a:pt x="61" y="473"/>
                    <a:pt x="67" y="469"/>
                    <a:pt x="72" y="466"/>
                  </a:cubicBezTo>
                  <a:cubicBezTo>
                    <a:pt x="76" y="463"/>
                    <a:pt x="81" y="459"/>
                    <a:pt x="81" y="456"/>
                  </a:cubicBezTo>
                  <a:cubicBezTo>
                    <a:pt x="81" y="448"/>
                    <a:pt x="93" y="442"/>
                    <a:pt x="110" y="442"/>
                  </a:cubicBezTo>
                  <a:cubicBezTo>
                    <a:pt x="123" y="442"/>
                    <a:pt x="135" y="433"/>
                    <a:pt x="130" y="428"/>
                  </a:cubicBezTo>
                  <a:cubicBezTo>
                    <a:pt x="128" y="427"/>
                    <a:pt x="123" y="427"/>
                    <a:pt x="118" y="428"/>
                  </a:cubicBezTo>
                  <a:cubicBezTo>
                    <a:pt x="112" y="429"/>
                    <a:pt x="105" y="427"/>
                    <a:pt x="97" y="422"/>
                  </a:cubicBezTo>
                  <a:cubicBezTo>
                    <a:pt x="90" y="417"/>
                    <a:pt x="82" y="414"/>
                    <a:pt x="79" y="415"/>
                  </a:cubicBezTo>
                  <a:cubicBezTo>
                    <a:pt x="73" y="417"/>
                    <a:pt x="65" y="411"/>
                    <a:pt x="65" y="405"/>
                  </a:cubicBezTo>
                  <a:cubicBezTo>
                    <a:pt x="65" y="403"/>
                    <a:pt x="67" y="402"/>
                    <a:pt x="71" y="402"/>
                  </a:cubicBezTo>
                  <a:cubicBezTo>
                    <a:pt x="74" y="402"/>
                    <a:pt x="82" y="396"/>
                    <a:pt x="89" y="390"/>
                  </a:cubicBezTo>
                  <a:cubicBezTo>
                    <a:pt x="102" y="377"/>
                    <a:pt x="102" y="363"/>
                    <a:pt x="89" y="365"/>
                  </a:cubicBezTo>
                  <a:cubicBezTo>
                    <a:pt x="83" y="365"/>
                    <a:pt x="81" y="364"/>
                    <a:pt x="83" y="361"/>
                  </a:cubicBezTo>
                  <a:cubicBezTo>
                    <a:pt x="85" y="358"/>
                    <a:pt x="86" y="352"/>
                    <a:pt x="85" y="348"/>
                  </a:cubicBezTo>
                  <a:cubicBezTo>
                    <a:pt x="84" y="342"/>
                    <a:pt x="85" y="341"/>
                    <a:pt x="91" y="343"/>
                  </a:cubicBezTo>
                  <a:cubicBezTo>
                    <a:pt x="102" y="348"/>
                    <a:pt x="117" y="346"/>
                    <a:pt x="124" y="340"/>
                  </a:cubicBezTo>
                  <a:cubicBezTo>
                    <a:pt x="127" y="337"/>
                    <a:pt x="130" y="327"/>
                    <a:pt x="131" y="319"/>
                  </a:cubicBezTo>
                  <a:cubicBezTo>
                    <a:pt x="132" y="305"/>
                    <a:pt x="132" y="302"/>
                    <a:pt x="126" y="303"/>
                  </a:cubicBezTo>
                  <a:cubicBezTo>
                    <a:pt x="120" y="303"/>
                    <a:pt x="118" y="300"/>
                    <a:pt x="118" y="288"/>
                  </a:cubicBezTo>
                  <a:cubicBezTo>
                    <a:pt x="118" y="272"/>
                    <a:pt x="118" y="272"/>
                    <a:pt x="118" y="272"/>
                  </a:cubicBezTo>
                  <a:cubicBezTo>
                    <a:pt x="95" y="272"/>
                    <a:pt x="95" y="272"/>
                    <a:pt x="95" y="272"/>
                  </a:cubicBezTo>
                  <a:cubicBezTo>
                    <a:pt x="71" y="273"/>
                    <a:pt x="68" y="270"/>
                    <a:pt x="80" y="258"/>
                  </a:cubicBezTo>
                  <a:cubicBezTo>
                    <a:pt x="86" y="252"/>
                    <a:pt x="88" y="247"/>
                    <a:pt x="86" y="238"/>
                  </a:cubicBezTo>
                  <a:cubicBezTo>
                    <a:pt x="84" y="230"/>
                    <a:pt x="85" y="226"/>
                    <a:pt x="88" y="226"/>
                  </a:cubicBezTo>
                  <a:cubicBezTo>
                    <a:pt x="90" y="226"/>
                    <a:pt x="91" y="223"/>
                    <a:pt x="90" y="220"/>
                  </a:cubicBezTo>
                  <a:cubicBezTo>
                    <a:pt x="88" y="215"/>
                    <a:pt x="73" y="213"/>
                    <a:pt x="73" y="218"/>
                  </a:cubicBezTo>
                  <a:cubicBezTo>
                    <a:pt x="73" y="220"/>
                    <a:pt x="71" y="222"/>
                    <a:pt x="69" y="222"/>
                  </a:cubicBezTo>
                  <a:cubicBezTo>
                    <a:pt x="67" y="222"/>
                    <a:pt x="65" y="216"/>
                    <a:pt x="65" y="209"/>
                  </a:cubicBezTo>
                  <a:cubicBezTo>
                    <a:pt x="65" y="201"/>
                    <a:pt x="65" y="192"/>
                    <a:pt x="64" y="188"/>
                  </a:cubicBezTo>
                  <a:cubicBezTo>
                    <a:pt x="64" y="162"/>
                    <a:pt x="69" y="135"/>
                    <a:pt x="74" y="131"/>
                  </a:cubicBezTo>
                  <a:cubicBezTo>
                    <a:pt x="78" y="129"/>
                    <a:pt x="81" y="124"/>
                    <a:pt x="81" y="121"/>
                  </a:cubicBezTo>
                  <a:cubicBezTo>
                    <a:pt x="81" y="109"/>
                    <a:pt x="91" y="103"/>
                    <a:pt x="112" y="101"/>
                  </a:cubicBezTo>
                  <a:cubicBezTo>
                    <a:pt x="130" y="99"/>
                    <a:pt x="133" y="100"/>
                    <a:pt x="133" y="106"/>
                  </a:cubicBezTo>
                  <a:cubicBezTo>
                    <a:pt x="133" y="110"/>
                    <a:pt x="126" y="117"/>
                    <a:pt x="118" y="122"/>
                  </a:cubicBezTo>
                  <a:cubicBezTo>
                    <a:pt x="107" y="129"/>
                    <a:pt x="105" y="131"/>
                    <a:pt x="109" y="134"/>
                  </a:cubicBezTo>
                  <a:cubicBezTo>
                    <a:pt x="113" y="137"/>
                    <a:pt x="113" y="139"/>
                    <a:pt x="110" y="140"/>
                  </a:cubicBezTo>
                  <a:cubicBezTo>
                    <a:pt x="107" y="141"/>
                    <a:pt x="105" y="145"/>
                    <a:pt x="105" y="148"/>
                  </a:cubicBezTo>
                  <a:cubicBezTo>
                    <a:pt x="105" y="153"/>
                    <a:pt x="105" y="153"/>
                    <a:pt x="111" y="148"/>
                  </a:cubicBezTo>
                  <a:cubicBezTo>
                    <a:pt x="116" y="143"/>
                    <a:pt x="122" y="142"/>
                    <a:pt x="136" y="144"/>
                  </a:cubicBezTo>
                  <a:cubicBezTo>
                    <a:pt x="166" y="148"/>
                    <a:pt x="166" y="147"/>
                    <a:pt x="153" y="173"/>
                  </a:cubicBezTo>
                  <a:cubicBezTo>
                    <a:pt x="146" y="187"/>
                    <a:pt x="138" y="198"/>
                    <a:pt x="136" y="198"/>
                  </a:cubicBezTo>
                  <a:cubicBezTo>
                    <a:pt x="133" y="198"/>
                    <a:pt x="133" y="199"/>
                    <a:pt x="136" y="203"/>
                  </a:cubicBezTo>
                  <a:cubicBezTo>
                    <a:pt x="140" y="207"/>
                    <a:pt x="139" y="209"/>
                    <a:pt x="132" y="211"/>
                  </a:cubicBezTo>
                  <a:cubicBezTo>
                    <a:pt x="127" y="212"/>
                    <a:pt x="125" y="215"/>
                    <a:pt x="127" y="218"/>
                  </a:cubicBezTo>
                  <a:cubicBezTo>
                    <a:pt x="128" y="220"/>
                    <a:pt x="132" y="221"/>
                    <a:pt x="135" y="220"/>
                  </a:cubicBezTo>
                  <a:cubicBezTo>
                    <a:pt x="138" y="219"/>
                    <a:pt x="147" y="223"/>
                    <a:pt x="155" y="230"/>
                  </a:cubicBezTo>
                  <a:cubicBezTo>
                    <a:pt x="167" y="241"/>
                    <a:pt x="169" y="244"/>
                    <a:pt x="166" y="254"/>
                  </a:cubicBezTo>
                  <a:cubicBezTo>
                    <a:pt x="164" y="263"/>
                    <a:pt x="166" y="268"/>
                    <a:pt x="175" y="277"/>
                  </a:cubicBezTo>
                  <a:cubicBezTo>
                    <a:pt x="188" y="288"/>
                    <a:pt x="206" y="314"/>
                    <a:pt x="203" y="314"/>
                  </a:cubicBezTo>
                  <a:cubicBezTo>
                    <a:pt x="202" y="314"/>
                    <a:pt x="204" y="322"/>
                    <a:pt x="209" y="332"/>
                  </a:cubicBezTo>
                  <a:cubicBezTo>
                    <a:pt x="215" y="347"/>
                    <a:pt x="216" y="353"/>
                    <a:pt x="213" y="360"/>
                  </a:cubicBezTo>
                  <a:cubicBezTo>
                    <a:pt x="208" y="372"/>
                    <a:pt x="211" y="374"/>
                    <a:pt x="223" y="367"/>
                  </a:cubicBezTo>
                  <a:cubicBezTo>
                    <a:pt x="236" y="358"/>
                    <a:pt x="255" y="367"/>
                    <a:pt x="253" y="382"/>
                  </a:cubicBezTo>
                  <a:cubicBezTo>
                    <a:pt x="252" y="398"/>
                    <a:pt x="244" y="413"/>
                    <a:pt x="237" y="415"/>
                  </a:cubicBezTo>
                  <a:cubicBezTo>
                    <a:pt x="229" y="418"/>
                    <a:pt x="228" y="430"/>
                    <a:pt x="236" y="435"/>
                  </a:cubicBezTo>
                  <a:cubicBezTo>
                    <a:pt x="238" y="436"/>
                    <a:pt x="243" y="437"/>
                    <a:pt x="245" y="435"/>
                  </a:cubicBezTo>
                  <a:cubicBezTo>
                    <a:pt x="254" y="429"/>
                    <a:pt x="246" y="443"/>
                    <a:pt x="235" y="451"/>
                  </a:cubicBezTo>
                  <a:cubicBezTo>
                    <a:pt x="227" y="457"/>
                    <a:pt x="218" y="459"/>
                    <a:pt x="197" y="460"/>
                  </a:cubicBezTo>
                  <a:cubicBezTo>
                    <a:pt x="182" y="460"/>
                    <a:pt x="168" y="461"/>
                    <a:pt x="166" y="463"/>
                  </a:cubicBezTo>
                  <a:cubicBezTo>
                    <a:pt x="160" y="466"/>
                    <a:pt x="136" y="467"/>
                    <a:pt x="128" y="464"/>
                  </a:cubicBezTo>
                  <a:cubicBezTo>
                    <a:pt x="123" y="462"/>
                    <a:pt x="117" y="464"/>
                    <a:pt x="109" y="472"/>
                  </a:cubicBezTo>
                  <a:cubicBezTo>
                    <a:pt x="99" y="482"/>
                    <a:pt x="96" y="483"/>
                    <a:pt x="90" y="479"/>
                  </a:cubicBezTo>
                  <a:cubicBezTo>
                    <a:pt x="84" y="475"/>
                    <a:pt x="80" y="475"/>
                    <a:pt x="68" y="481"/>
                  </a:cubicBezTo>
                  <a:cubicBezTo>
                    <a:pt x="59" y="486"/>
                    <a:pt x="51" y="487"/>
                    <a:pt x="48" y="485"/>
                  </a:cubicBezTo>
                  <a:close/>
                  <a:moveTo>
                    <a:pt x="33" y="296"/>
                  </a:moveTo>
                  <a:cubicBezTo>
                    <a:pt x="28" y="284"/>
                    <a:pt x="21" y="283"/>
                    <a:pt x="18" y="292"/>
                  </a:cubicBezTo>
                  <a:cubicBezTo>
                    <a:pt x="15" y="300"/>
                    <a:pt x="10" y="299"/>
                    <a:pt x="4" y="289"/>
                  </a:cubicBezTo>
                  <a:cubicBezTo>
                    <a:pt x="0" y="282"/>
                    <a:pt x="1" y="279"/>
                    <a:pt x="11" y="269"/>
                  </a:cubicBezTo>
                  <a:cubicBezTo>
                    <a:pt x="17" y="263"/>
                    <a:pt x="21" y="256"/>
                    <a:pt x="19" y="252"/>
                  </a:cubicBezTo>
                  <a:cubicBezTo>
                    <a:pt x="17" y="245"/>
                    <a:pt x="23" y="243"/>
                    <a:pt x="27" y="250"/>
                  </a:cubicBezTo>
                  <a:cubicBezTo>
                    <a:pt x="28" y="252"/>
                    <a:pt x="33" y="254"/>
                    <a:pt x="38" y="254"/>
                  </a:cubicBezTo>
                  <a:cubicBezTo>
                    <a:pt x="44" y="254"/>
                    <a:pt x="49" y="259"/>
                    <a:pt x="56" y="270"/>
                  </a:cubicBezTo>
                  <a:cubicBezTo>
                    <a:pt x="66" y="287"/>
                    <a:pt x="66" y="287"/>
                    <a:pt x="66" y="287"/>
                  </a:cubicBezTo>
                  <a:cubicBezTo>
                    <a:pt x="55" y="296"/>
                    <a:pt x="55" y="296"/>
                    <a:pt x="55" y="296"/>
                  </a:cubicBezTo>
                  <a:cubicBezTo>
                    <a:pt x="41" y="308"/>
                    <a:pt x="39" y="308"/>
                    <a:pt x="33" y="296"/>
                  </a:cubicBezTo>
                  <a:close/>
                  <a:moveTo>
                    <a:pt x="81" y="304"/>
                  </a:moveTo>
                  <a:cubicBezTo>
                    <a:pt x="81" y="303"/>
                    <a:pt x="82" y="301"/>
                    <a:pt x="85" y="300"/>
                  </a:cubicBezTo>
                  <a:cubicBezTo>
                    <a:pt x="87" y="298"/>
                    <a:pt x="89" y="299"/>
                    <a:pt x="89" y="301"/>
                  </a:cubicBezTo>
                  <a:cubicBezTo>
                    <a:pt x="89" y="304"/>
                    <a:pt x="87" y="306"/>
                    <a:pt x="85" y="306"/>
                  </a:cubicBezTo>
                  <a:cubicBezTo>
                    <a:pt x="82" y="306"/>
                    <a:pt x="81" y="305"/>
                    <a:pt x="81" y="304"/>
                  </a:cubicBezTo>
                  <a:close/>
                  <a:moveTo>
                    <a:pt x="47" y="155"/>
                  </a:moveTo>
                  <a:cubicBezTo>
                    <a:pt x="44" y="147"/>
                    <a:pt x="44" y="147"/>
                    <a:pt x="50" y="144"/>
                  </a:cubicBezTo>
                  <a:cubicBezTo>
                    <a:pt x="54" y="143"/>
                    <a:pt x="56" y="146"/>
                    <a:pt x="58" y="152"/>
                  </a:cubicBezTo>
                  <a:cubicBezTo>
                    <a:pt x="60" y="163"/>
                    <a:pt x="51" y="166"/>
                    <a:pt x="47" y="155"/>
                  </a:cubicBezTo>
                  <a:close/>
                  <a:moveTo>
                    <a:pt x="39" y="126"/>
                  </a:moveTo>
                  <a:cubicBezTo>
                    <a:pt x="35" y="120"/>
                    <a:pt x="39" y="115"/>
                    <a:pt x="49" y="109"/>
                  </a:cubicBezTo>
                  <a:cubicBezTo>
                    <a:pt x="59" y="104"/>
                    <a:pt x="59" y="110"/>
                    <a:pt x="49" y="122"/>
                  </a:cubicBezTo>
                  <a:cubicBezTo>
                    <a:pt x="44" y="128"/>
                    <a:pt x="41" y="129"/>
                    <a:pt x="39" y="126"/>
                  </a:cubicBezTo>
                  <a:close/>
                  <a:moveTo>
                    <a:pt x="129" y="87"/>
                  </a:moveTo>
                  <a:cubicBezTo>
                    <a:pt x="129" y="79"/>
                    <a:pt x="138" y="70"/>
                    <a:pt x="147" y="70"/>
                  </a:cubicBezTo>
                  <a:cubicBezTo>
                    <a:pt x="154" y="70"/>
                    <a:pt x="153" y="79"/>
                    <a:pt x="145" y="80"/>
                  </a:cubicBezTo>
                  <a:cubicBezTo>
                    <a:pt x="135" y="81"/>
                    <a:pt x="135" y="82"/>
                    <a:pt x="140" y="85"/>
                  </a:cubicBezTo>
                  <a:cubicBezTo>
                    <a:pt x="144" y="88"/>
                    <a:pt x="143" y="89"/>
                    <a:pt x="137" y="91"/>
                  </a:cubicBezTo>
                  <a:cubicBezTo>
                    <a:pt x="131" y="92"/>
                    <a:pt x="129" y="91"/>
                    <a:pt x="129" y="87"/>
                  </a:cubicBezTo>
                  <a:close/>
                  <a:moveTo>
                    <a:pt x="177" y="37"/>
                  </a:moveTo>
                  <a:cubicBezTo>
                    <a:pt x="177" y="33"/>
                    <a:pt x="175" y="30"/>
                    <a:pt x="172" y="29"/>
                  </a:cubicBezTo>
                  <a:cubicBezTo>
                    <a:pt x="166" y="27"/>
                    <a:pt x="171" y="17"/>
                    <a:pt x="183" y="8"/>
                  </a:cubicBezTo>
                  <a:cubicBezTo>
                    <a:pt x="194" y="0"/>
                    <a:pt x="194" y="0"/>
                    <a:pt x="191" y="8"/>
                  </a:cubicBezTo>
                  <a:cubicBezTo>
                    <a:pt x="189" y="12"/>
                    <a:pt x="185" y="22"/>
                    <a:pt x="182" y="30"/>
                  </a:cubicBezTo>
                  <a:cubicBezTo>
                    <a:pt x="179" y="37"/>
                    <a:pt x="177" y="41"/>
                    <a:pt x="177" y="37"/>
                  </a:cubicBezTo>
                  <a:close/>
                </a:path>
              </a:pathLst>
            </a:custGeom>
            <a:solidFill>
              <a:srgbClr val="00447B"/>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91" name="Freeform 45"/>
            <p:cNvSpPr>
              <a:spLocks noEditPoints="1"/>
            </p:cNvSpPr>
            <p:nvPr userDrawn="1"/>
          </p:nvSpPr>
          <p:spPr bwMode="black">
            <a:xfrm>
              <a:off x="9250363" y="1490663"/>
              <a:ext cx="1260475" cy="1160463"/>
            </a:xfrm>
            <a:custGeom>
              <a:avLst/>
              <a:gdLst>
                <a:gd name="T0" fmla="*/ 439 w 460"/>
                <a:gd name="T1" fmla="*/ 364 h 418"/>
                <a:gd name="T2" fmla="*/ 455 w 460"/>
                <a:gd name="T3" fmla="*/ 367 h 418"/>
                <a:gd name="T4" fmla="*/ 454 w 460"/>
                <a:gd name="T5" fmla="*/ 418 h 418"/>
                <a:gd name="T6" fmla="*/ 193 w 460"/>
                <a:gd name="T7" fmla="*/ 378 h 418"/>
                <a:gd name="T8" fmla="*/ 87 w 460"/>
                <a:gd name="T9" fmla="*/ 351 h 418"/>
                <a:gd name="T10" fmla="*/ 104 w 460"/>
                <a:gd name="T11" fmla="*/ 274 h 418"/>
                <a:gd name="T12" fmla="*/ 117 w 460"/>
                <a:gd name="T13" fmla="*/ 258 h 418"/>
                <a:gd name="T14" fmla="*/ 105 w 460"/>
                <a:gd name="T15" fmla="*/ 229 h 418"/>
                <a:gd name="T16" fmla="*/ 78 w 460"/>
                <a:gd name="T17" fmla="*/ 184 h 418"/>
                <a:gd name="T18" fmla="*/ 66 w 460"/>
                <a:gd name="T19" fmla="*/ 165 h 418"/>
                <a:gd name="T20" fmla="*/ 9 w 460"/>
                <a:gd name="T21" fmla="*/ 142 h 418"/>
                <a:gd name="T22" fmla="*/ 8 w 460"/>
                <a:gd name="T23" fmla="*/ 129 h 418"/>
                <a:gd name="T24" fmla="*/ 8 w 460"/>
                <a:gd name="T25" fmla="*/ 106 h 418"/>
                <a:gd name="T26" fmla="*/ 35 w 460"/>
                <a:gd name="T27" fmla="*/ 103 h 418"/>
                <a:gd name="T28" fmla="*/ 68 w 460"/>
                <a:gd name="T29" fmla="*/ 112 h 418"/>
                <a:gd name="T30" fmla="*/ 96 w 460"/>
                <a:gd name="T31" fmla="*/ 101 h 418"/>
                <a:gd name="T32" fmla="*/ 92 w 460"/>
                <a:gd name="T33" fmla="*/ 80 h 418"/>
                <a:gd name="T34" fmla="*/ 102 w 460"/>
                <a:gd name="T35" fmla="*/ 72 h 418"/>
                <a:gd name="T36" fmla="*/ 126 w 460"/>
                <a:gd name="T37" fmla="*/ 79 h 418"/>
                <a:gd name="T38" fmla="*/ 164 w 460"/>
                <a:gd name="T39" fmla="*/ 54 h 418"/>
                <a:gd name="T40" fmla="*/ 198 w 460"/>
                <a:gd name="T41" fmla="*/ 3 h 418"/>
                <a:gd name="T42" fmla="*/ 245 w 460"/>
                <a:gd name="T43" fmla="*/ 30 h 418"/>
                <a:gd name="T44" fmla="*/ 264 w 460"/>
                <a:gd name="T45" fmla="*/ 44 h 418"/>
                <a:gd name="T46" fmla="*/ 312 w 460"/>
                <a:gd name="T47" fmla="*/ 60 h 418"/>
                <a:gd name="T48" fmla="*/ 344 w 460"/>
                <a:gd name="T49" fmla="*/ 76 h 418"/>
                <a:gd name="T50" fmla="*/ 383 w 460"/>
                <a:gd name="T51" fmla="*/ 80 h 418"/>
                <a:gd name="T52" fmla="*/ 369 w 460"/>
                <a:gd name="T53" fmla="*/ 132 h 418"/>
                <a:gd name="T54" fmla="*/ 337 w 460"/>
                <a:gd name="T55" fmla="*/ 180 h 418"/>
                <a:gd name="T56" fmla="*/ 318 w 460"/>
                <a:gd name="T57" fmla="*/ 215 h 418"/>
                <a:gd name="T58" fmla="*/ 355 w 460"/>
                <a:gd name="T59" fmla="*/ 202 h 418"/>
                <a:gd name="T60" fmla="*/ 358 w 460"/>
                <a:gd name="T61" fmla="*/ 236 h 418"/>
                <a:gd name="T62" fmla="*/ 356 w 460"/>
                <a:gd name="T63" fmla="*/ 263 h 418"/>
                <a:gd name="T64" fmla="*/ 374 w 460"/>
                <a:gd name="T65" fmla="*/ 296 h 418"/>
                <a:gd name="T66" fmla="*/ 313 w 460"/>
                <a:gd name="T67" fmla="*/ 343 h 418"/>
                <a:gd name="T68" fmla="*/ 239 w 460"/>
                <a:gd name="T69" fmla="*/ 375 h 418"/>
                <a:gd name="T70" fmla="*/ 193 w 460"/>
                <a:gd name="T71" fmla="*/ 378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0" h="418">
                  <a:moveTo>
                    <a:pt x="441" y="404"/>
                  </a:moveTo>
                  <a:cubicBezTo>
                    <a:pt x="426" y="388"/>
                    <a:pt x="425" y="378"/>
                    <a:pt x="439" y="364"/>
                  </a:cubicBezTo>
                  <a:cubicBezTo>
                    <a:pt x="450" y="354"/>
                    <a:pt x="450" y="354"/>
                    <a:pt x="450" y="354"/>
                  </a:cubicBezTo>
                  <a:cubicBezTo>
                    <a:pt x="455" y="367"/>
                    <a:pt x="455" y="367"/>
                    <a:pt x="455" y="367"/>
                  </a:cubicBezTo>
                  <a:cubicBezTo>
                    <a:pt x="459" y="376"/>
                    <a:pt x="460" y="385"/>
                    <a:pt x="457" y="399"/>
                  </a:cubicBezTo>
                  <a:cubicBezTo>
                    <a:pt x="454" y="418"/>
                    <a:pt x="454" y="418"/>
                    <a:pt x="454" y="418"/>
                  </a:cubicBezTo>
                  <a:lnTo>
                    <a:pt x="441" y="404"/>
                  </a:lnTo>
                  <a:close/>
                  <a:moveTo>
                    <a:pt x="193" y="378"/>
                  </a:moveTo>
                  <a:cubicBezTo>
                    <a:pt x="187" y="372"/>
                    <a:pt x="180" y="370"/>
                    <a:pt x="160" y="371"/>
                  </a:cubicBezTo>
                  <a:cubicBezTo>
                    <a:pt x="135" y="371"/>
                    <a:pt x="98" y="361"/>
                    <a:pt x="87" y="351"/>
                  </a:cubicBezTo>
                  <a:cubicBezTo>
                    <a:pt x="82" y="346"/>
                    <a:pt x="83" y="345"/>
                    <a:pt x="87" y="342"/>
                  </a:cubicBezTo>
                  <a:cubicBezTo>
                    <a:pt x="95" y="336"/>
                    <a:pt x="104" y="298"/>
                    <a:pt x="104" y="274"/>
                  </a:cubicBezTo>
                  <a:cubicBezTo>
                    <a:pt x="105" y="257"/>
                    <a:pt x="105" y="255"/>
                    <a:pt x="111" y="260"/>
                  </a:cubicBezTo>
                  <a:cubicBezTo>
                    <a:pt x="115" y="264"/>
                    <a:pt x="117" y="263"/>
                    <a:pt x="117" y="258"/>
                  </a:cubicBezTo>
                  <a:cubicBezTo>
                    <a:pt x="117" y="255"/>
                    <a:pt x="114" y="250"/>
                    <a:pt x="111" y="248"/>
                  </a:cubicBezTo>
                  <a:cubicBezTo>
                    <a:pt x="107" y="245"/>
                    <a:pt x="105" y="236"/>
                    <a:pt x="105" y="229"/>
                  </a:cubicBezTo>
                  <a:cubicBezTo>
                    <a:pt x="105" y="218"/>
                    <a:pt x="102" y="215"/>
                    <a:pt x="93" y="210"/>
                  </a:cubicBezTo>
                  <a:cubicBezTo>
                    <a:pt x="81" y="204"/>
                    <a:pt x="74" y="191"/>
                    <a:pt x="78" y="184"/>
                  </a:cubicBezTo>
                  <a:cubicBezTo>
                    <a:pt x="80" y="182"/>
                    <a:pt x="77" y="177"/>
                    <a:pt x="72" y="174"/>
                  </a:cubicBezTo>
                  <a:cubicBezTo>
                    <a:pt x="67" y="171"/>
                    <a:pt x="65" y="167"/>
                    <a:pt x="66" y="165"/>
                  </a:cubicBezTo>
                  <a:cubicBezTo>
                    <a:pt x="69" y="160"/>
                    <a:pt x="22" y="138"/>
                    <a:pt x="14" y="141"/>
                  </a:cubicBezTo>
                  <a:cubicBezTo>
                    <a:pt x="11" y="142"/>
                    <a:pt x="9" y="143"/>
                    <a:pt x="9" y="142"/>
                  </a:cubicBezTo>
                  <a:cubicBezTo>
                    <a:pt x="9" y="141"/>
                    <a:pt x="7" y="137"/>
                    <a:pt x="6" y="133"/>
                  </a:cubicBezTo>
                  <a:cubicBezTo>
                    <a:pt x="4" y="128"/>
                    <a:pt x="5" y="127"/>
                    <a:pt x="8" y="129"/>
                  </a:cubicBezTo>
                  <a:cubicBezTo>
                    <a:pt x="15" y="133"/>
                    <a:pt x="14" y="123"/>
                    <a:pt x="6" y="115"/>
                  </a:cubicBezTo>
                  <a:cubicBezTo>
                    <a:pt x="0" y="109"/>
                    <a:pt x="1" y="108"/>
                    <a:pt x="8" y="106"/>
                  </a:cubicBezTo>
                  <a:cubicBezTo>
                    <a:pt x="13" y="104"/>
                    <a:pt x="18" y="104"/>
                    <a:pt x="20" y="105"/>
                  </a:cubicBezTo>
                  <a:cubicBezTo>
                    <a:pt x="22" y="107"/>
                    <a:pt x="29" y="106"/>
                    <a:pt x="35" y="103"/>
                  </a:cubicBezTo>
                  <a:cubicBezTo>
                    <a:pt x="44" y="100"/>
                    <a:pt x="47" y="101"/>
                    <a:pt x="54" y="107"/>
                  </a:cubicBezTo>
                  <a:cubicBezTo>
                    <a:pt x="60" y="112"/>
                    <a:pt x="65" y="114"/>
                    <a:pt x="68" y="112"/>
                  </a:cubicBezTo>
                  <a:cubicBezTo>
                    <a:pt x="71" y="110"/>
                    <a:pt x="80" y="109"/>
                    <a:pt x="87" y="110"/>
                  </a:cubicBezTo>
                  <a:cubicBezTo>
                    <a:pt x="100" y="112"/>
                    <a:pt x="100" y="111"/>
                    <a:pt x="96" y="101"/>
                  </a:cubicBezTo>
                  <a:cubicBezTo>
                    <a:pt x="94" y="95"/>
                    <a:pt x="93" y="88"/>
                    <a:pt x="94" y="85"/>
                  </a:cubicBezTo>
                  <a:cubicBezTo>
                    <a:pt x="95" y="82"/>
                    <a:pt x="95" y="80"/>
                    <a:pt x="92" y="80"/>
                  </a:cubicBezTo>
                  <a:cubicBezTo>
                    <a:pt x="86" y="80"/>
                    <a:pt x="88" y="69"/>
                    <a:pt x="94" y="66"/>
                  </a:cubicBezTo>
                  <a:cubicBezTo>
                    <a:pt x="97" y="65"/>
                    <a:pt x="101" y="67"/>
                    <a:pt x="102" y="72"/>
                  </a:cubicBezTo>
                  <a:cubicBezTo>
                    <a:pt x="103" y="76"/>
                    <a:pt x="106" y="79"/>
                    <a:pt x="109" y="77"/>
                  </a:cubicBezTo>
                  <a:cubicBezTo>
                    <a:pt x="113" y="76"/>
                    <a:pt x="120" y="77"/>
                    <a:pt x="126" y="79"/>
                  </a:cubicBezTo>
                  <a:cubicBezTo>
                    <a:pt x="138" y="84"/>
                    <a:pt x="151" y="78"/>
                    <a:pt x="146" y="71"/>
                  </a:cubicBezTo>
                  <a:cubicBezTo>
                    <a:pt x="143" y="65"/>
                    <a:pt x="151" y="57"/>
                    <a:pt x="164" y="54"/>
                  </a:cubicBezTo>
                  <a:cubicBezTo>
                    <a:pt x="179" y="50"/>
                    <a:pt x="189" y="38"/>
                    <a:pt x="189" y="22"/>
                  </a:cubicBezTo>
                  <a:cubicBezTo>
                    <a:pt x="189" y="11"/>
                    <a:pt x="191" y="6"/>
                    <a:pt x="198" y="3"/>
                  </a:cubicBezTo>
                  <a:cubicBezTo>
                    <a:pt x="206" y="0"/>
                    <a:pt x="209" y="1"/>
                    <a:pt x="220" y="11"/>
                  </a:cubicBezTo>
                  <a:cubicBezTo>
                    <a:pt x="228" y="18"/>
                    <a:pt x="239" y="27"/>
                    <a:pt x="245" y="30"/>
                  </a:cubicBezTo>
                  <a:cubicBezTo>
                    <a:pt x="251" y="33"/>
                    <a:pt x="257" y="37"/>
                    <a:pt x="257" y="40"/>
                  </a:cubicBezTo>
                  <a:cubicBezTo>
                    <a:pt x="257" y="42"/>
                    <a:pt x="260" y="44"/>
                    <a:pt x="264" y="44"/>
                  </a:cubicBezTo>
                  <a:cubicBezTo>
                    <a:pt x="269" y="44"/>
                    <a:pt x="279" y="47"/>
                    <a:pt x="287" y="52"/>
                  </a:cubicBezTo>
                  <a:cubicBezTo>
                    <a:pt x="294" y="56"/>
                    <a:pt x="306" y="60"/>
                    <a:pt x="312" y="60"/>
                  </a:cubicBezTo>
                  <a:cubicBezTo>
                    <a:pt x="320" y="60"/>
                    <a:pt x="326" y="62"/>
                    <a:pt x="329" y="68"/>
                  </a:cubicBezTo>
                  <a:cubicBezTo>
                    <a:pt x="331" y="72"/>
                    <a:pt x="337" y="76"/>
                    <a:pt x="344" y="76"/>
                  </a:cubicBezTo>
                  <a:cubicBezTo>
                    <a:pt x="350" y="76"/>
                    <a:pt x="361" y="77"/>
                    <a:pt x="369" y="78"/>
                  </a:cubicBezTo>
                  <a:cubicBezTo>
                    <a:pt x="383" y="80"/>
                    <a:pt x="383" y="80"/>
                    <a:pt x="383" y="80"/>
                  </a:cubicBezTo>
                  <a:cubicBezTo>
                    <a:pt x="376" y="100"/>
                    <a:pt x="376" y="100"/>
                    <a:pt x="376" y="100"/>
                  </a:cubicBezTo>
                  <a:cubicBezTo>
                    <a:pt x="372" y="111"/>
                    <a:pt x="369" y="125"/>
                    <a:pt x="369" y="132"/>
                  </a:cubicBezTo>
                  <a:cubicBezTo>
                    <a:pt x="369" y="140"/>
                    <a:pt x="366" y="145"/>
                    <a:pt x="359" y="148"/>
                  </a:cubicBezTo>
                  <a:cubicBezTo>
                    <a:pt x="351" y="152"/>
                    <a:pt x="337" y="172"/>
                    <a:pt x="337" y="180"/>
                  </a:cubicBezTo>
                  <a:cubicBezTo>
                    <a:pt x="337" y="182"/>
                    <a:pt x="332" y="190"/>
                    <a:pt x="326" y="198"/>
                  </a:cubicBezTo>
                  <a:cubicBezTo>
                    <a:pt x="321" y="206"/>
                    <a:pt x="317" y="214"/>
                    <a:pt x="318" y="215"/>
                  </a:cubicBezTo>
                  <a:cubicBezTo>
                    <a:pt x="319" y="216"/>
                    <a:pt x="327" y="213"/>
                    <a:pt x="334" y="208"/>
                  </a:cubicBezTo>
                  <a:cubicBezTo>
                    <a:pt x="342" y="204"/>
                    <a:pt x="351" y="201"/>
                    <a:pt x="355" y="202"/>
                  </a:cubicBezTo>
                  <a:cubicBezTo>
                    <a:pt x="361" y="205"/>
                    <a:pt x="363" y="218"/>
                    <a:pt x="357" y="221"/>
                  </a:cubicBezTo>
                  <a:cubicBezTo>
                    <a:pt x="355" y="223"/>
                    <a:pt x="355" y="229"/>
                    <a:pt x="358" y="236"/>
                  </a:cubicBezTo>
                  <a:cubicBezTo>
                    <a:pt x="361" y="245"/>
                    <a:pt x="361" y="249"/>
                    <a:pt x="357" y="251"/>
                  </a:cubicBezTo>
                  <a:cubicBezTo>
                    <a:pt x="353" y="254"/>
                    <a:pt x="353" y="256"/>
                    <a:pt x="356" y="263"/>
                  </a:cubicBezTo>
                  <a:cubicBezTo>
                    <a:pt x="359" y="267"/>
                    <a:pt x="361" y="275"/>
                    <a:pt x="361" y="281"/>
                  </a:cubicBezTo>
                  <a:cubicBezTo>
                    <a:pt x="361" y="289"/>
                    <a:pt x="364" y="292"/>
                    <a:pt x="374" y="296"/>
                  </a:cubicBezTo>
                  <a:cubicBezTo>
                    <a:pt x="390" y="302"/>
                    <a:pt x="389" y="306"/>
                    <a:pt x="370" y="329"/>
                  </a:cubicBezTo>
                  <a:cubicBezTo>
                    <a:pt x="353" y="350"/>
                    <a:pt x="342" y="352"/>
                    <a:pt x="313" y="343"/>
                  </a:cubicBezTo>
                  <a:cubicBezTo>
                    <a:pt x="299" y="339"/>
                    <a:pt x="283" y="336"/>
                    <a:pt x="278" y="336"/>
                  </a:cubicBezTo>
                  <a:cubicBezTo>
                    <a:pt x="255" y="336"/>
                    <a:pt x="234" y="356"/>
                    <a:pt x="239" y="375"/>
                  </a:cubicBezTo>
                  <a:cubicBezTo>
                    <a:pt x="241" y="381"/>
                    <a:pt x="240" y="384"/>
                    <a:pt x="236" y="384"/>
                  </a:cubicBezTo>
                  <a:cubicBezTo>
                    <a:pt x="205" y="386"/>
                    <a:pt x="201" y="386"/>
                    <a:pt x="193" y="378"/>
                  </a:cubicBezTo>
                  <a:close/>
                </a:path>
              </a:pathLst>
            </a:custGeom>
            <a:solidFill>
              <a:srgbClr val="00447B"/>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92" name="Freeform 46"/>
            <p:cNvSpPr>
              <a:spLocks/>
            </p:cNvSpPr>
            <p:nvPr userDrawn="1"/>
          </p:nvSpPr>
          <p:spPr bwMode="black">
            <a:xfrm>
              <a:off x="10101263" y="995362"/>
              <a:ext cx="720725" cy="906463"/>
            </a:xfrm>
            <a:custGeom>
              <a:avLst/>
              <a:gdLst>
                <a:gd name="T0" fmla="*/ 120 w 263"/>
                <a:gd name="T1" fmla="*/ 321 h 327"/>
                <a:gd name="T2" fmla="*/ 92 w 263"/>
                <a:gd name="T3" fmla="*/ 319 h 327"/>
                <a:gd name="T4" fmla="*/ 66 w 263"/>
                <a:gd name="T5" fmla="*/ 322 h 327"/>
                <a:gd name="T6" fmla="*/ 68 w 263"/>
                <a:gd name="T7" fmla="*/ 279 h 327"/>
                <a:gd name="T8" fmla="*/ 76 w 263"/>
                <a:gd name="T9" fmla="*/ 257 h 327"/>
                <a:gd name="T10" fmla="*/ 49 w 263"/>
                <a:gd name="T11" fmla="*/ 254 h 327"/>
                <a:gd name="T12" fmla="*/ 16 w 263"/>
                <a:gd name="T13" fmla="*/ 242 h 327"/>
                <a:gd name="T14" fmla="*/ 14 w 263"/>
                <a:gd name="T15" fmla="*/ 229 h 327"/>
                <a:gd name="T16" fmla="*/ 10 w 263"/>
                <a:gd name="T17" fmla="*/ 222 h 327"/>
                <a:gd name="T18" fmla="*/ 6 w 263"/>
                <a:gd name="T19" fmla="*/ 204 h 327"/>
                <a:gd name="T20" fmla="*/ 4 w 263"/>
                <a:gd name="T21" fmla="*/ 186 h 327"/>
                <a:gd name="T22" fmla="*/ 1 w 263"/>
                <a:gd name="T23" fmla="*/ 161 h 327"/>
                <a:gd name="T24" fmla="*/ 14 w 263"/>
                <a:gd name="T25" fmla="*/ 127 h 327"/>
                <a:gd name="T26" fmla="*/ 21 w 263"/>
                <a:gd name="T27" fmla="*/ 109 h 327"/>
                <a:gd name="T28" fmla="*/ 21 w 263"/>
                <a:gd name="T29" fmla="*/ 88 h 327"/>
                <a:gd name="T30" fmla="*/ 21 w 263"/>
                <a:gd name="T31" fmla="*/ 68 h 327"/>
                <a:gd name="T32" fmla="*/ 30 w 263"/>
                <a:gd name="T33" fmla="*/ 52 h 327"/>
                <a:gd name="T34" fmla="*/ 44 w 263"/>
                <a:gd name="T35" fmla="*/ 59 h 327"/>
                <a:gd name="T36" fmla="*/ 50 w 263"/>
                <a:gd name="T37" fmla="*/ 63 h 327"/>
                <a:gd name="T38" fmla="*/ 58 w 263"/>
                <a:gd name="T39" fmla="*/ 65 h 327"/>
                <a:gd name="T40" fmla="*/ 59 w 263"/>
                <a:gd name="T41" fmla="*/ 56 h 327"/>
                <a:gd name="T42" fmla="*/ 67 w 263"/>
                <a:gd name="T43" fmla="*/ 41 h 327"/>
                <a:gd name="T44" fmla="*/ 73 w 263"/>
                <a:gd name="T45" fmla="*/ 35 h 327"/>
                <a:gd name="T46" fmla="*/ 69 w 263"/>
                <a:gd name="T47" fmla="*/ 24 h 327"/>
                <a:gd name="T48" fmla="*/ 63 w 263"/>
                <a:gd name="T49" fmla="*/ 5 h 327"/>
                <a:gd name="T50" fmla="*/ 69 w 263"/>
                <a:gd name="T51" fmla="*/ 2 h 327"/>
                <a:gd name="T52" fmla="*/ 88 w 263"/>
                <a:gd name="T53" fmla="*/ 7 h 327"/>
                <a:gd name="T54" fmla="*/ 119 w 263"/>
                <a:gd name="T55" fmla="*/ 13 h 327"/>
                <a:gd name="T56" fmla="*/ 138 w 263"/>
                <a:gd name="T57" fmla="*/ 14 h 327"/>
                <a:gd name="T58" fmla="*/ 174 w 263"/>
                <a:gd name="T59" fmla="*/ 16 h 327"/>
                <a:gd name="T60" fmla="*/ 204 w 263"/>
                <a:gd name="T61" fmla="*/ 22 h 327"/>
                <a:gd name="T62" fmla="*/ 216 w 263"/>
                <a:gd name="T63" fmla="*/ 47 h 327"/>
                <a:gd name="T64" fmla="*/ 217 w 263"/>
                <a:gd name="T65" fmla="*/ 62 h 327"/>
                <a:gd name="T66" fmla="*/ 235 w 263"/>
                <a:gd name="T67" fmla="*/ 90 h 327"/>
                <a:gd name="T68" fmla="*/ 254 w 263"/>
                <a:gd name="T69" fmla="*/ 120 h 327"/>
                <a:gd name="T70" fmla="*/ 254 w 263"/>
                <a:gd name="T71" fmla="*/ 139 h 327"/>
                <a:gd name="T72" fmla="*/ 232 w 263"/>
                <a:gd name="T73" fmla="*/ 149 h 327"/>
                <a:gd name="T74" fmla="*/ 197 w 263"/>
                <a:gd name="T75" fmla="*/ 173 h 327"/>
                <a:gd name="T76" fmla="*/ 184 w 263"/>
                <a:gd name="T77" fmla="*/ 190 h 327"/>
                <a:gd name="T78" fmla="*/ 192 w 263"/>
                <a:gd name="T79" fmla="*/ 198 h 327"/>
                <a:gd name="T80" fmla="*/ 238 w 263"/>
                <a:gd name="T81" fmla="*/ 238 h 327"/>
                <a:gd name="T82" fmla="*/ 250 w 263"/>
                <a:gd name="T83" fmla="*/ 240 h 327"/>
                <a:gd name="T84" fmla="*/ 232 w 263"/>
                <a:gd name="T85" fmla="*/ 256 h 327"/>
                <a:gd name="T86" fmla="*/ 227 w 263"/>
                <a:gd name="T87" fmla="*/ 296 h 327"/>
                <a:gd name="T88" fmla="*/ 216 w 263"/>
                <a:gd name="T89" fmla="*/ 299 h 327"/>
                <a:gd name="T90" fmla="*/ 198 w 263"/>
                <a:gd name="T91" fmla="*/ 304 h 327"/>
                <a:gd name="T92" fmla="*/ 166 w 263"/>
                <a:gd name="T93" fmla="*/ 314 h 327"/>
                <a:gd name="T94" fmla="*/ 134 w 263"/>
                <a:gd name="T95" fmla="*/ 324 h 327"/>
                <a:gd name="T96" fmla="*/ 120 w 263"/>
                <a:gd name="T97" fmla="*/ 32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63" h="327">
                  <a:moveTo>
                    <a:pt x="120" y="321"/>
                  </a:moveTo>
                  <a:cubicBezTo>
                    <a:pt x="112" y="314"/>
                    <a:pt x="109" y="314"/>
                    <a:pt x="92" y="319"/>
                  </a:cubicBezTo>
                  <a:cubicBezTo>
                    <a:pt x="81" y="321"/>
                    <a:pt x="69" y="323"/>
                    <a:pt x="66" y="322"/>
                  </a:cubicBezTo>
                  <a:cubicBezTo>
                    <a:pt x="58" y="318"/>
                    <a:pt x="59" y="304"/>
                    <a:pt x="68" y="279"/>
                  </a:cubicBezTo>
                  <a:cubicBezTo>
                    <a:pt x="73" y="268"/>
                    <a:pt x="76" y="258"/>
                    <a:pt x="76" y="257"/>
                  </a:cubicBezTo>
                  <a:cubicBezTo>
                    <a:pt x="76" y="257"/>
                    <a:pt x="64" y="255"/>
                    <a:pt x="49" y="254"/>
                  </a:cubicBezTo>
                  <a:cubicBezTo>
                    <a:pt x="26" y="252"/>
                    <a:pt x="20" y="250"/>
                    <a:pt x="16" y="242"/>
                  </a:cubicBezTo>
                  <a:cubicBezTo>
                    <a:pt x="13" y="237"/>
                    <a:pt x="13" y="231"/>
                    <a:pt x="14" y="229"/>
                  </a:cubicBezTo>
                  <a:cubicBezTo>
                    <a:pt x="16" y="226"/>
                    <a:pt x="14" y="223"/>
                    <a:pt x="10" y="222"/>
                  </a:cubicBezTo>
                  <a:cubicBezTo>
                    <a:pt x="5" y="220"/>
                    <a:pt x="4" y="216"/>
                    <a:pt x="6" y="204"/>
                  </a:cubicBezTo>
                  <a:cubicBezTo>
                    <a:pt x="7" y="195"/>
                    <a:pt x="7" y="188"/>
                    <a:pt x="4" y="186"/>
                  </a:cubicBezTo>
                  <a:cubicBezTo>
                    <a:pt x="2" y="185"/>
                    <a:pt x="0" y="173"/>
                    <a:pt x="1" y="161"/>
                  </a:cubicBezTo>
                  <a:cubicBezTo>
                    <a:pt x="1" y="141"/>
                    <a:pt x="3" y="137"/>
                    <a:pt x="14" y="127"/>
                  </a:cubicBezTo>
                  <a:cubicBezTo>
                    <a:pt x="25" y="118"/>
                    <a:pt x="26" y="116"/>
                    <a:pt x="21" y="109"/>
                  </a:cubicBezTo>
                  <a:cubicBezTo>
                    <a:pt x="18" y="103"/>
                    <a:pt x="18" y="98"/>
                    <a:pt x="21" y="88"/>
                  </a:cubicBezTo>
                  <a:cubicBezTo>
                    <a:pt x="25" y="79"/>
                    <a:pt x="25" y="74"/>
                    <a:pt x="21" y="68"/>
                  </a:cubicBezTo>
                  <a:cubicBezTo>
                    <a:pt x="13" y="56"/>
                    <a:pt x="15" y="52"/>
                    <a:pt x="30" y="52"/>
                  </a:cubicBezTo>
                  <a:cubicBezTo>
                    <a:pt x="40" y="52"/>
                    <a:pt x="44" y="54"/>
                    <a:pt x="44" y="59"/>
                  </a:cubicBezTo>
                  <a:cubicBezTo>
                    <a:pt x="44" y="63"/>
                    <a:pt x="46" y="64"/>
                    <a:pt x="50" y="63"/>
                  </a:cubicBezTo>
                  <a:cubicBezTo>
                    <a:pt x="53" y="62"/>
                    <a:pt x="57" y="63"/>
                    <a:pt x="58" y="65"/>
                  </a:cubicBezTo>
                  <a:cubicBezTo>
                    <a:pt x="59" y="68"/>
                    <a:pt x="59" y="64"/>
                    <a:pt x="59" y="56"/>
                  </a:cubicBezTo>
                  <a:cubicBezTo>
                    <a:pt x="58" y="44"/>
                    <a:pt x="60" y="42"/>
                    <a:pt x="67" y="41"/>
                  </a:cubicBezTo>
                  <a:cubicBezTo>
                    <a:pt x="73" y="40"/>
                    <a:pt x="75" y="38"/>
                    <a:pt x="73" y="35"/>
                  </a:cubicBezTo>
                  <a:cubicBezTo>
                    <a:pt x="72" y="32"/>
                    <a:pt x="70" y="27"/>
                    <a:pt x="69" y="24"/>
                  </a:cubicBezTo>
                  <a:cubicBezTo>
                    <a:pt x="67" y="12"/>
                    <a:pt x="66" y="10"/>
                    <a:pt x="63" y="5"/>
                  </a:cubicBezTo>
                  <a:cubicBezTo>
                    <a:pt x="60" y="0"/>
                    <a:pt x="61" y="0"/>
                    <a:pt x="69" y="2"/>
                  </a:cubicBezTo>
                  <a:cubicBezTo>
                    <a:pt x="74" y="4"/>
                    <a:pt x="83" y="6"/>
                    <a:pt x="88" y="7"/>
                  </a:cubicBezTo>
                  <a:cubicBezTo>
                    <a:pt x="111" y="10"/>
                    <a:pt x="116" y="11"/>
                    <a:pt x="119" y="13"/>
                  </a:cubicBezTo>
                  <a:cubicBezTo>
                    <a:pt x="120" y="15"/>
                    <a:pt x="129" y="15"/>
                    <a:pt x="138" y="14"/>
                  </a:cubicBezTo>
                  <a:cubicBezTo>
                    <a:pt x="147" y="13"/>
                    <a:pt x="163" y="14"/>
                    <a:pt x="174" y="16"/>
                  </a:cubicBezTo>
                  <a:cubicBezTo>
                    <a:pt x="185" y="19"/>
                    <a:pt x="198" y="21"/>
                    <a:pt x="204" y="22"/>
                  </a:cubicBezTo>
                  <a:cubicBezTo>
                    <a:pt x="217" y="23"/>
                    <a:pt x="222" y="34"/>
                    <a:pt x="216" y="47"/>
                  </a:cubicBezTo>
                  <a:cubicBezTo>
                    <a:pt x="213" y="56"/>
                    <a:pt x="213" y="59"/>
                    <a:pt x="217" y="62"/>
                  </a:cubicBezTo>
                  <a:cubicBezTo>
                    <a:pt x="221" y="64"/>
                    <a:pt x="229" y="77"/>
                    <a:pt x="235" y="90"/>
                  </a:cubicBezTo>
                  <a:cubicBezTo>
                    <a:pt x="242" y="104"/>
                    <a:pt x="250" y="117"/>
                    <a:pt x="254" y="120"/>
                  </a:cubicBezTo>
                  <a:cubicBezTo>
                    <a:pt x="263" y="127"/>
                    <a:pt x="262" y="142"/>
                    <a:pt x="254" y="139"/>
                  </a:cubicBezTo>
                  <a:cubicBezTo>
                    <a:pt x="250" y="137"/>
                    <a:pt x="242" y="141"/>
                    <a:pt x="232" y="149"/>
                  </a:cubicBezTo>
                  <a:cubicBezTo>
                    <a:pt x="224" y="157"/>
                    <a:pt x="208" y="167"/>
                    <a:pt x="197" y="173"/>
                  </a:cubicBezTo>
                  <a:cubicBezTo>
                    <a:pt x="175" y="183"/>
                    <a:pt x="172" y="186"/>
                    <a:pt x="184" y="190"/>
                  </a:cubicBezTo>
                  <a:cubicBezTo>
                    <a:pt x="189" y="192"/>
                    <a:pt x="192" y="195"/>
                    <a:pt x="192" y="198"/>
                  </a:cubicBezTo>
                  <a:cubicBezTo>
                    <a:pt x="192" y="207"/>
                    <a:pt x="224" y="235"/>
                    <a:pt x="238" y="238"/>
                  </a:cubicBezTo>
                  <a:cubicBezTo>
                    <a:pt x="250" y="240"/>
                    <a:pt x="250" y="240"/>
                    <a:pt x="250" y="240"/>
                  </a:cubicBezTo>
                  <a:cubicBezTo>
                    <a:pt x="232" y="256"/>
                    <a:pt x="232" y="256"/>
                    <a:pt x="232" y="256"/>
                  </a:cubicBezTo>
                  <a:cubicBezTo>
                    <a:pt x="213" y="272"/>
                    <a:pt x="213" y="271"/>
                    <a:pt x="227" y="296"/>
                  </a:cubicBezTo>
                  <a:cubicBezTo>
                    <a:pt x="228" y="297"/>
                    <a:pt x="223" y="299"/>
                    <a:pt x="216" y="299"/>
                  </a:cubicBezTo>
                  <a:cubicBezTo>
                    <a:pt x="209" y="300"/>
                    <a:pt x="201" y="302"/>
                    <a:pt x="198" y="304"/>
                  </a:cubicBezTo>
                  <a:cubicBezTo>
                    <a:pt x="196" y="306"/>
                    <a:pt x="182" y="310"/>
                    <a:pt x="166" y="314"/>
                  </a:cubicBezTo>
                  <a:cubicBezTo>
                    <a:pt x="151" y="317"/>
                    <a:pt x="137" y="322"/>
                    <a:pt x="134" y="324"/>
                  </a:cubicBezTo>
                  <a:cubicBezTo>
                    <a:pt x="131" y="327"/>
                    <a:pt x="126" y="326"/>
                    <a:pt x="120" y="321"/>
                  </a:cubicBezTo>
                  <a:close/>
                </a:path>
              </a:pathLst>
            </a:custGeom>
            <a:solidFill>
              <a:srgbClr val="00447B"/>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800" dirty="0"/>
            </a:p>
          </p:txBody>
        </p:sp>
      </p:grpSp>
      <p:sp>
        <p:nvSpPr>
          <p:cNvPr id="230" name="Freeform 5"/>
          <p:cNvSpPr>
            <a:spLocks/>
          </p:cNvSpPr>
          <p:nvPr userDrawn="1"/>
        </p:nvSpPr>
        <p:spPr bwMode="black">
          <a:xfrm>
            <a:off x="1572582" y="5348181"/>
            <a:ext cx="53975" cy="87313"/>
          </a:xfrm>
          <a:custGeom>
            <a:avLst/>
            <a:gdLst>
              <a:gd name="T0" fmla="*/ 37 w 37"/>
              <a:gd name="T1" fmla="*/ 38 h 61"/>
              <a:gd name="T2" fmla="*/ 11 w 37"/>
              <a:gd name="T3" fmla="*/ 45 h 61"/>
              <a:gd name="T4" fmla="*/ 37 w 37"/>
              <a:gd name="T5" fmla="*/ 38 h 61"/>
            </a:gdLst>
            <a:ahLst/>
            <a:cxnLst>
              <a:cxn ang="0">
                <a:pos x="T0" y="T1"/>
              </a:cxn>
              <a:cxn ang="0">
                <a:pos x="T2" y="T3"/>
              </a:cxn>
              <a:cxn ang="0">
                <a:pos x="T4" y="T5"/>
              </a:cxn>
            </a:cxnLst>
            <a:rect l="0" t="0" r="r" b="b"/>
            <a:pathLst>
              <a:path w="37" h="61">
                <a:moveTo>
                  <a:pt x="37" y="38"/>
                </a:moveTo>
                <a:cubicBezTo>
                  <a:pt x="29" y="0"/>
                  <a:pt x="0" y="42"/>
                  <a:pt x="11" y="45"/>
                </a:cubicBezTo>
                <a:cubicBezTo>
                  <a:pt x="31" y="51"/>
                  <a:pt x="24" y="61"/>
                  <a:pt x="37" y="38"/>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31" name="Freeform 6"/>
          <p:cNvSpPr>
            <a:spLocks/>
          </p:cNvSpPr>
          <p:nvPr userDrawn="1"/>
        </p:nvSpPr>
        <p:spPr bwMode="auto">
          <a:xfrm>
            <a:off x="4291969" y="5878404"/>
            <a:ext cx="69851" cy="65088"/>
          </a:xfrm>
          <a:custGeom>
            <a:avLst/>
            <a:gdLst>
              <a:gd name="T0" fmla="*/ 27 w 48"/>
              <a:gd name="T1" fmla="*/ 0 h 45"/>
              <a:gd name="T2" fmla="*/ 17 w 48"/>
              <a:gd name="T3" fmla="*/ 45 h 45"/>
              <a:gd name="T4" fmla="*/ 48 w 48"/>
              <a:gd name="T5" fmla="*/ 0 h 45"/>
              <a:gd name="T6" fmla="*/ 27 w 48"/>
              <a:gd name="T7" fmla="*/ 0 h 45"/>
            </a:gdLst>
            <a:ahLst/>
            <a:cxnLst>
              <a:cxn ang="0">
                <a:pos x="T0" y="T1"/>
              </a:cxn>
              <a:cxn ang="0">
                <a:pos x="T2" y="T3"/>
              </a:cxn>
              <a:cxn ang="0">
                <a:pos x="T4" y="T5"/>
              </a:cxn>
              <a:cxn ang="0">
                <a:pos x="T6" y="T7"/>
              </a:cxn>
            </a:cxnLst>
            <a:rect l="0" t="0" r="r" b="b"/>
            <a:pathLst>
              <a:path w="48" h="45">
                <a:moveTo>
                  <a:pt x="27" y="0"/>
                </a:moveTo>
                <a:cubicBezTo>
                  <a:pt x="6" y="9"/>
                  <a:pt x="0" y="28"/>
                  <a:pt x="17" y="45"/>
                </a:cubicBezTo>
                <a:cubicBezTo>
                  <a:pt x="29" y="32"/>
                  <a:pt x="40" y="17"/>
                  <a:pt x="48" y="0"/>
                </a:cubicBezTo>
                <a:cubicBezTo>
                  <a:pt x="41" y="0"/>
                  <a:pt x="34" y="0"/>
                  <a:pt x="27" y="0"/>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32" name="Freeform 7"/>
          <p:cNvSpPr>
            <a:spLocks noEditPoints="1"/>
          </p:cNvSpPr>
          <p:nvPr userDrawn="1"/>
        </p:nvSpPr>
        <p:spPr bwMode="black">
          <a:xfrm>
            <a:off x="580394" y="3414604"/>
            <a:ext cx="3808415" cy="3360739"/>
          </a:xfrm>
          <a:custGeom>
            <a:avLst/>
            <a:gdLst>
              <a:gd name="T0" fmla="*/ 558 w 2649"/>
              <a:gd name="T1" fmla="*/ 958 h 2340"/>
              <a:gd name="T2" fmla="*/ 616 w 2649"/>
              <a:gd name="T3" fmla="*/ 1013 h 2340"/>
              <a:gd name="T4" fmla="*/ 803 w 2649"/>
              <a:gd name="T5" fmla="*/ 1307 h 2340"/>
              <a:gd name="T6" fmla="*/ 812 w 2649"/>
              <a:gd name="T7" fmla="*/ 1517 h 2340"/>
              <a:gd name="T8" fmla="*/ 841 w 2649"/>
              <a:gd name="T9" fmla="*/ 1693 h 2340"/>
              <a:gd name="T10" fmla="*/ 981 w 2649"/>
              <a:gd name="T11" fmla="*/ 1820 h 2340"/>
              <a:gd name="T12" fmla="*/ 1498 w 2649"/>
              <a:gd name="T13" fmla="*/ 2120 h 2340"/>
              <a:gd name="T14" fmla="*/ 1782 w 2649"/>
              <a:gd name="T15" fmla="*/ 2110 h 2340"/>
              <a:gd name="T16" fmla="*/ 1905 w 2649"/>
              <a:gd name="T17" fmla="*/ 2197 h 2340"/>
              <a:gd name="T18" fmla="*/ 2082 w 2649"/>
              <a:gd name="T19" fmla="*/ 2199 h 2340"/>
              <a:gd name="T20" fmla="*/ 2250 w 2649"/>
              <a:gd name="T21" fmla="*/ 2147 h 2340"/>
              <a:gd name="T22" fmla="*/ 2186 w 2649"/>
              <a:gd name="T23" fmla="*/ 2000 h 2340"/>
              <a:gd name="T24" fmla="*/ 2394 w 2649"/>
              <a:gd name="T25" fmla="*/ 2010 h 2340"/>
              <a:gd name="T26" fmla="*/ 2481 w 2649"/>
              <a:gd name="T27" fmla="*/ 1909 h 2340"/>
              <a:gd name="T28" fmla="*/ 2526 w 2649"/>
              <a:gd name="T29" fmla="*/ 1858 h 2340"/>
              <a:gd name="T30" fmla="*/ 2593 w 2649"/>
              <a:gd name="T31" fmla="*/ 1724 h 2340"/>
              <a:gd name="T32" fmla="*/ 2545 w 2649"/>
              <a:gd name="T33" fmla="*/ 1624 h 2340"/>
              <a:gd name="T34" fmla="*/ 2402 w 2649"/>
              <a:gd name="T35" fmla="*/ 1617 h 2340"/>
              <a:gd name="T36" fmla="*/ 2230 w 2649"/>
              <a:gd name="T37" fmla="*/ 1790 h 2340"/>
              <a:gd name="T38" fmla="*/ 2065 w 2649"/>
              <a:gd name="T39" fmla="*/ 1884 h 2340"/>
              <a:gd name="T40" fmla="*/ 1770 w 2649"/>
              <a:gd name="T41" fmla="*/ 1846 h 2340"/>
              <a:gd name="T42" fmla="*/ 1581 w 2649"/>
              <a:gd name="T43" fmla="*/ 1480 h 2340"/>
              <a:gd name="T44" fmla="*/ 1632 w 2649"/>
              <a:gd name="T45" fmla="*/ 1142 h 2340"/>
              <a:gd name="T46" fmla="*/ 1675 w 2649"/>
              <a:gd name="T47" fmla="*/ 1065 h 2340"/>
              <a:gd name="T48" fmla="*/ 1441 w 2649"/>
              <a:gd name="T49" fmla="*/ 874 h 2340"/>
              <a:gd name="T50" fmla="*/ 1413 w 2649"/>
              <a:gd name="T51" fmla="*/ 762 h 2340"/>
              <a:gd name="T52" fmla="*/ 1179 w 2649"/>
              <a:gd name="T53" fmla="*/ 651 h 2340"/>
              <a:gd name="T54" fmla="*/ 1008 w 2649"/>
              <a:gd name="T55" fmla="*/ 458 h 2340"/>
              <a:gd name="T56" fmla="*/ 744 w 2649"/>
              <a:gd name="T57" fmla="*/ 358 h 2340"/>
              <a:gd name="T58" fmla="*/ 238 w 2649"/>
              <a:gd name="T59" fmla="*/ 72 h 2340"/>
              <a:gd name="T60" fmla="*/ 47 w 2649"/>
              <a:gd name="T61" fmla="*/ 214 h 2340"/>
              <a:gd name="T62" fmla="*/ 147 w 2649"/>
              <a:gd name="T63" fmla="*/ 589 h 2340"/>
              <a:gd name="T64" fmla="*/ 53 w 2649"/>
              <a:gd name="T65" fmla="*/ 554 h 2340"/>
              <a:gd name="T66" fmla="*/ 271 w 2649"/>
              <a:gd name="T67" fmla="*/ 899 h 2340"/>
              <a:gd name="T68" fmla="*/ 380 w 2649"/>
              <a:gd name="T69" fmla="*/ 1137 h 2340"/>
              <a:gd name="T70" fmla="*/ 476 w 2649"/>
              <a:gd name="T71" fmla="*/ 1145 h 2340"/>
              <a:gd name="T72" fmla="*/ 372 w 2649"/>
              <a:gd name="T73" fmla="*/ 839 h 2340"/>
              <a:gd name="T74" fmla="*/ 282 w 2649"/>
              <a:gd name="T75" fmla="*/ 570 h 2340"/>
              <a:gd name="T76" fmla="*/ 276 w 2649"/>
              <a:gd name="T77" fmla="*/ 500 h 2340"/>
              <a:gd name="T78" fmla="*/ 208 w 2649"/>
              <a:gd name="T79" fmla="*/ 180 h 2340"/>
              <a:gd name="T80" fmla="*/ 227 w 2649"/>
              <a:gd name="T81" fmla="*/ 197 h 2340"/>
              <a:gd name="T82" fmla="*/ 333 w 2649"/>
              <a:gd name="T83" fmla="*/ 426 h 2340"/>
              <a:gd name="T84" fmla="*/ 423 w 2649"/>
              <a:gd name="T85" fmla="*/ 633 h 2340"/>
              <a:gd name="T86" fmla="*/ 517 w 2649"/>
              <a:gd name="T87" fmla="*/ 791 h 2340"/>
              <a:gd name="T88" fmla="*/ 528 w 2649"/>
              <a:gd name="T89" fmla="*/ 888 h 2340"/>
              <a:gd name="T90" fmla="*/ 2526 w 2649"/>
              <a:gd name="T91" fmla="*/ 1820 h 2340"/>
              <a:gd name="T92" fmla="*/ 536 w 2649"/>
              <a:gd name="T93" fmla="*/ 892 h 2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49" h="2340">
                <a:moveTo>
                  <a:pt x="533" y="893"/>
                </a:moveTo>
                <a:cubicBezTo>
                  <a:pt x="541" y="908"/>
                  <a:pt x="543" y="938"/>
                  <a:pt x="558" y="958"/>
                </a:cubicBezTo>
                <a:cubicBezTo>
                  <a:pt x="565" y="958"/>
                  <a:pt x="571" y="958"/>
                  <a:pt x="578" y="958"/>
                </a:cubicBezTo>
                <a:cubicBezTo>
                  <a:pt x="588" y="978"/>
                  <a:pt x="601" y="996"/>
                  <a:pt x="616" y="1013"/>
                </a:cubicBezTo>
                <a:cubicBezTo>
                  <a:pt x="639" y="1054"/>
                  <a:pt x="638" y="1052"/>
                  <a:pt x="670" y="1083"/>
                </a:cubicBezTo>
                <a:cubicBezTo>
                  <a:pt x="651" y="1089"/>
                  <a:pt x="796" y="1287"/>
                  <a:pt x="803" y="1307"/>
                </a:cubicBezTo>
                <a:cubicBezTo>
                  <a:pt x="813" y="1336"/>
                  <a:pt x="819" y="1401"/>
                  <a:pt x="819" y="1432"/>
                </a:cubicBezTo>
                <a:cubicBezTo>
                  <a:pt x="819" y="1453"/>
                  <a:pt x="793" y="1512"/>
                  <a:pt x="812" y="1517"/>
                </a:cubicBezTo>
                <a:cubicBezTo>
                  <a:pt x="774" y="1552"/>
                  <a:pt x="759" y="1542"/>
                  <a:pt x="781" y="1602"/>
                </a:cubicBezTo>
                <a:cubicBezTo>
                  <a:pt x="791" y="1632"/>
                  <a:pt x="839" y="1691"/>
                  <a:pt x="841" y="1693"/>
                </a:cubicBezTo>
                <a:cubicBezTo>
                  <a:pt x="865" y="1712"/>
                  <a:pt x="894" y="1721"/>
                  <a:pt x="916" y="1744"/>
                </a:cubicBezTo>
                <a:cubicBezTo>
                  <a:pt x="939" y="1769"/>
                  <a:pt x="953" y="1799"/>
                  <a:pt x="981" y="1820"/>
                </a:cubicBezTo>
                <a:cubicBezTo>
                  <a:pt x="1028" y="1857"/>
                  <a:pt x="1084" y="1867"/>
                  <a:pt x="1130" y="1905"/>
                </a:cubicBezTo>
                <a:cubicBezTo>
                  <a:pt x="1238" y="1996"/>
                  <a:pt x="1371" y="2058"/>
                  <a:pt x="1498" y="2120"/>
                </a:cubicBezTo>
                <a:cubicBezTo>
                  <a:pt x="1559" y="2150"/>
                  <a:pt x="1607" y="2174"/>
                  <a:pt x="1675" y="2161"/>
                </a:cubicBezTo>
                <a:cubicBezTo>
                  <a:pt x="1698" y="2156"/>
                  <a:pt x="1763" y="2109"/>
                  <a:pt x="1782" y="2110"/>
                </a:cubicBezTo>
                <a:cubicBezTo>
                  <a:pt x="1782" y="2144"/>
                  <a:pt x="1810" y="2126"/>
                  <a:pt x="1846" y="2141"/>
                </a:cubicBezTo>
                <a:cubicBezTo>
                  <a:pt x="1869" y="2152"/>
                  <a:pt x="1888" y="2179"/>
                  <a:pt x="1905" y="2197"/>
                </a:cubicBezTo>
                <a:cubicBezTo>
                  <a:pt x="1951" y="2244"/>
                  <a:pt x="1983" y="2301"/>
                  <a:pt x="2034" y="2340"/>
                </a:cubicBezTo>
                <a:cubicBezTo>
                  <a:pt x="2059" y="2296"/>
                  <a:pt x="2041" y="2236"/>
                  <a:pt x="2082" y="2199"/>
                </a:cubicBezTo>
                <a:cubicBezTo>
                  <a:pt x="2122" y="2162"/>
                  <a:pt x="2184" y="2187"/>
                  <a:pt x="2232" y="2192"/>
                </a:cubicBezTo>
                <a:cubicBezTo>
                  <a:pt x="2230" y="2173"/>
                  <a:pt x="2236" y="2159"/>
                  <a:pt x="2250" y="2147"/>
                </a:cubicBezTo>
                <a:cubicBezTo>
                  <a:pt x="2210" y="2138"/>
                  <a:pt x="2180" y="2086"/>
                  <a:pt x="2154" y="2058"/>
                </a:cubicBezTo>
                <a:cubicBezTo>
                  <a:pt x="2189" y="2067"/>
                  <a:pt x="2186" y="2020"/>
                  <a:pt x="2186" y="2000"/>
                </a:cubicBezTo>
                <a:cubicBezTo>
                  <a:pt x="2236" y="2027"/>
                  <a:pt x="2328" y="2020"/>
                  <a:pt x="2380" y="2001"/>
                </a:cubicBezTo>
                <a:cubicBezTo>
                  <a:pt x="2384" y="2005"/>
                  <a:pt x="2389" y="2008"/>
                  <a:pt x="2394" y="2010"/>
                </a:cubicBezTo>
                <a:cubicBezTo>
                  <a:pt x="2407" y="1998"/>
                  <a:pt x="2418" y="1984"/>
                  <a:pt x="2427" y="1970"/>
                </a:cubicBezTo>
                <a:cubicBezTo>
                  <a:pt x="2445" y="1951"/>
                  <a:pt x="2458" y="1921"/>
                  <a:pt x="2481" y="1909"/>
                </a:cubicBezTo>
                <a:cubicBezTo>
                  <a:pt x="2456" y="1971"/>
                  <a:pt x="2519" y="1972"/>
                  <a:pt x="2531" y="1909"/>
                </a:cubicBezTo>
                <a:cubicBezTo>
                  <a:pt x="2536" y="1887"/>
                  <a:pt x="2526" y="1870"/>
                  <a:pt x="2526" y="1858"/>
                </a:cubicBezTo>
                <a:cubicBezTo>
                  <a:pt x="2526" y="1840"/>
                  <a:pt x="2578" y="1828"/>
                  <a:pt x="2531" y="1817"/>
                </a:cubicBezTo>
                <a:cubicBezTo>
                  <a:pt x="2553" y="1802"/>
                  <a:pt x="2578" y="1746"/>
                  <a:pt x="2593" y="1724"/>
                </a:cubicBezTo>
                <a:cubicBezTo>
                  <a:pt x="2615" y="1692"/>
                  <a:pt x="2649" y="1632"/>
                  <a:pt x="2592" y="1611"/>
                </a:cubicBezTo>
                <a:cubicBezTo>
                  <a:pt x="2586" y="1608"/>
                  <a:pt x="2559" y="1624"/>
                  <a:pt x="2545" y="1624"/>
                </a:cubicBezTo>
                <a:cubicBezTo>
                  <a:pt x="2523" y="1625"/>
                  <a:pt x="2494" y="1604"/>
                  <a:pt x="2470" y="1603"/>
                </a:cubicBezTo>
                <a:cubicBezTo>
                  <a:pt x="2448" y="1603"/>
                  <a:pt x="2424" y="1613"/>
                  <a:pt x="2402" y="1617"/>
                </a:cubicBezTo>
                <a:cubicBezTo>
                  <a:pt x="2361" y="1624"/>
                  <a:pt x="2305" y="1620"/>
                  <a:pt x="2273" y="1653"/>
                </a:cubicBezTo>
                <a:cubicBezTo>
                  <a:pt x="2237" y="1690"/>
                  <a:pt x="2250" y="1746"/>
                  <a:pt x="2230" y="1790"/>
                </a:cubicBezTo>
                <a:cubicBezTo>
                  <a:pt x="2217" y="1817"/>
                  <a:pt x="2167" y="1870"/>
                  <a:pt x="2151" y="1883"/>
                </a:cubicBezTo>
                <a:cubicBezTo>
                  <a:pt x="2108" y="1916"/>
                  <a:pt x="2125" y="1887"/>
                  <a:pt x="2065" y="1884"/>
                </a:cubicBezTo>
                <a:cubicBezTo>
                  <a:pt x="2004" y="1881"/>
                  <a:pt x="1908" y="1933"/>
                  <a:pt x="1850" y="1911"/>
                </a:cubicBezTo>
                <a:cubicBezTo>
                  <a:pt x="1822" y="1900"/>
                  <a:pt x="1798" y="1863"/>
                  <a:pt x="1770" y="1846"/>
                </a:cubicBezTo>
                <a:cubicBezTo>
                  <a:pt x="1724" y="1818"/>
                  <a:pt x="1704" y="1812"/>
                  <a:pt x="1679" y="1759"/>
                </a:cubicBezTo>
                <a:cubicBezTo>
                  <a:pt x="1639" y="1671"/>
                  <a:pt x="1610" y="1571"/>
                  <a:pt x="1581" y="1480"/>
                </a:cubicBezTo>
                <a:cubicBezTo>
                  <a:pt x="1549" y="1383"/>
                  <a:pt x="1604" y="1251"/>
                  <a:pt x="1611" y="1146"/>
                </a:cubicBezTo>
                <a:cubicBezTo>
                  <a:pt x="1626" y="1188"/>
                  <a:pt x="1633" y="1186"/>
                  <a:pt x="1632" y="1142"/>
                </a:cubicBezTo>
                <a:cubicBezTo>
                  <a:pt x="1642" y="1147"/>
                  <a:pt x="1650" y="1145"/>
                  <a:pt x="1655" y="1134"/>
                </a:cubicBezTo>
                <a:cubicBezTo>
                  <a:pt x="1665" y="1112"/>
                  <a:pt x="1675" y="1089"/>
                  <a:pt x="1675" y="1065"/>
                </a:cubicBezTo>
                <a:cubicBezTo>
                  <a:pt x="1637" y="1104"/>
                  <a:pt x="1532" y="1031"/>
                  <a:pt x="1508" y="1001"/>
                </a:cubicBezTo>
                <a:cubicBezTo>
                  <a:pt x="1490" y="978"/>
                  <a:pt x="1482" y="845"/>
                  <a:pt x="1441" y="874"/>
                </a:cubicBezTo>
                <a:cubicBezTo>
                  <a:pt x="1436" y="860"/>
                  <a:pt x="1456" y="849"/>
                  <a:pt x="1449" y="834"/>
                </a:cubicBezTo>
                <a:cubicBezTo>
                  <a:pt x="1438" y="808"/>
                  <a:pt x="1424" y="789"/>
                  <a:pt x="1413" y="762"/>
                </a:cubicBezTo>
                <a:cubicBezTo>
                  <a:pt x="1391" y="708"/>
                  <a:pt x="1382" y="647"/>
                  <a:pt x="1324" y="617"/>
                </a:cubicBezTo>
                <a:cubicBezTo>
                  <a:pt x="1255" y="580"/>
                  <a:pt x="1230" y="620"/>
                  <a:pt x="1179" y="651"/>
                </a:cubicBezTo>
                <a:cubicBezTo>
                  <a:pt x="1132" y="678"/>
                  <a:pt x="1103" y="665"/>
                  <a:pt x="1069" y="610"/>
                </a:cubicBezTo>
                <a:cubicBezTo>
                  <a:pt x="1039" y="561"/>
                  <a:pt x="1042" y="507"/>
                  <a:pt x="1008" y="458"/>
                </a:cubicBezTo>
                <a:cubicBezTo>
                  <a:pt x="982" y="421"/>
                  <a:pt x="955" y="367"/>
                  <a:pt x="918" y="342"/>
                </a:cubicBezTo>
                <a:cubicBezTo>
                  <a:pt x="862" y="305"/>
                  <a:pt x="754" y="277"/>
                  <a:pt x="744" y="358"/>
                </a:cubicBezTo>
                <a:cubicBezTo>
                  <a:pt x="626" y="311"/>
                  <a:pt x="520" y="312"/>
                  <a:pt x="414" y="232"/>
                </a:cubicBezTo>
                <a:cubicBezTo>
                  <a:pt x="390" y="214"/>
                  <a:pt x="209" y="108"/>
                  <a:pt x="238" y="72"/>
                </a:cubicBezTo>
                <a:cubicBezTo>
                  <a:pt x="194" y="62"/>
                  <a:pt x="77" y="0"/>
                  <a:pt x="36" y="31"/>
                </a:cubicBezTo>
                <a:cubicBezTo>
                  <a:pt x="0" y="59"/>
                  <a:pt x="41" y="173"/>
                  <a:pt x="47" y="214"/>
                </a:cubicBezTo>
                <a:cubicBezTo>
                  <a:pt x="63" y="308"/>
                  <a:pt x="78" y="366"/>
                  <a:pt x="128" y="447"/>
                </a:cubicBezTo>
                <a:cubicBezTo>
                  <a:pt x="154" y="489"/>
                  <a:pt x="187" y="553"/>
                  <a:pt x="147" y="589"/>
                </a:cubicBezTo>
                <a:cubicBezTo>
                  <a:pt x="141" y="582"/>
                  <a:pt x="139" y="574"/>
                  <a:pt x="140" y="565"/>
                </a:cubicBezTo>
                <a:cubicBezTo>
                  <a:pt x="115" y="589"/>
                  <a:pt x="77" y="562"/>
                  <a:pt x="53" y="554"/>
                </a:cubicBezTo>
                <a:cubicBezTo>
                  <a:pt x="63" y="586"/>
                  <a:pt x="173" y="766"/>
                  <a:pt x="214" y="718"/>
                </a:cubicBezTo>
                <a:cubicBezTo>
                  <a:pt x="232" y="793"/>
                  <a:pt x="278" y="814"/>
                  <a:pt x="271" y="899"/>
                </a:cubicBezTo>
                <a:cubicBezTo>
                  <a:pt x="267" y="947"/>
                  <a:pt x="263" y="957"/>
                  <a:pt x="291" y="1001"/>
                </a:cubicBezTo>
                <a:cubicBezTo>
                  <a:pt x="321" y="1049"/>
                  <a:pt x="355" y="1087"/>
                  <a:pt x="380" y="1137"/>
                </a:cubicBezTo>
                <a:cubicBezTo>
                  <a:pt x="392" y="1163"/>
                  <a:pt x="395" y="1196"/>
                  <a:pt x="427" y="1202"/>
                </a:cubicBezTo>
                <a:cubicBezTo>
                  <a:pt x="465" y="1209"/>
                  <a:pt x="473" y="1173"/>
                  <a:pt x="476" y="1145"/>
                </a:cubicBezTo>
                <a:cubicBezTo>
                  <a:pt x="481" y="1091"/>
                  <a:pt x="402" y="1029"/>
                  <a:pt x="405" y="1054"/>
                </a:cubicBezTo>
                <a:cubicBezTo>
                  <a:pt x="374" y="998"/>
                  <a:pt x="379" y="901"/>
                  <a:pt x="372" y="839"/>
                </a:cubicBezTo>
                <a:cubicBezTo>
                  <a:pt x="365" y="777"/>
                  <a:pt x="335" y="749"/>
                  <a:pt x="312" y="694"/>
                </a:cubicBezTo>
                <a:cubicBezTo>
                  <a:pt x="296" y="654"/>
                  <a:pt x="292" y="612"/>
                  <a:pt x="282" y="570"/>
                </a:cubicBezTo>
                <a:cubicBezTo>
                  <a:pt x="272" y="525"/>
                  <a:pt x="245" y="498"/>
                  <a:pt x="245" y="464"/>
                </a:cubicBezTo>
                <a:cubicBezTo>
                  <a:pt x="253" y="478"/>
                  <a:pt x="263" y="490"/>
                  <a:pt x="276" y="500"/>
                </a:cubicBezTo>
                <a:cubicBezTo>
                  <a:pt x="295" y="463"/>
                  <a:pt x="237" y="419"/>
                  <a:pt x="238" y="442"/>
                </a:cubicBezTo>
                <a:cubicBezTo>
                  <a:pt x="179" y="367"/>
                  <a:pt x="159" y="265"/>
                  <a:pt x="208" y="180"/>
                </a:cubicBezTo>
                <a:cubicBezTo>
                  <a:pt x="210" y="183"/>
                  <a:pt x="191" y="207"/>
                  <a:pt x="203" y="206"/>
                </a:cubicBezTo>
                <a:cubicBezTo>
                  <a:pt x="211" y="206"/>
                  <a:pt x="243" y="228"/>
                  <a:pt x="227" y="197"/>
                </a:cubicBezTo>
                <a:cubicBezTo>
                  <a:pt x="252" y="204"/>
                  <a:pt x="268" y="243"/>
                  <a:pt x="296" y="251"/>
                </a:cubicBezTo>
                <a:cubicBezTo>
                  <a:pt x="294" y="250"/>
                  <a:pt x="327" y="393"/>
                  <a:pt x="333" y="426"/>
                </a:cubicBezTo>
                <a:cubicBezTo>
                  <a:pt x="333" y="426"/>
                  <a:pt x="324" y="590"/>
                  <a:pt x="355" y="528"/>
                </a:cubicBezTo>
                <a:cubicBezTo>
                  <a:pt x="375" y="566"/>
                  <a:pt x="399" y="599"/>
                  <a:pt x="423" y="633"/>
                </a:cubicBezTo>
                <a:cubicBezTo>
                  <a:pt x="453" y="675"/>
                  <a:pt x="436" y="667"/>
                  <a:pt x="453" y="716"/>
                </a:cubicBezTo>
                <a:cubicBezTo>
                  <a:pt x="464" y="745"/>
                  <a:pt x="496" y="769"/>
                  <a:pt x="517" y="791"/>
                </a:cubicBezTo>
                <a:cubicBezTo>
                  <a:pt x="521" y="796"/>
                  <a:pt x="568" y="847"/>
                  <a:pt x="568" y="845"/>
                </a:cubicBezTo>
                <a:cubicBezTo>
                  <a:pt x="559" y="857"/>
                  <a:pt x="544" y="875"/>
                  <a:pt x="528" y="888"/>
                </a:cubicBezTo>
                <a:moveTo>
                  <a:pt x="2526" y="1820"/>
                </a:moveTo>
                <a:cubicBezTo>
                  <a:pt x="2526" y="1820"/>
                  <a:pt x="2526" y="1820"/>
                  <a:pt x="2526" y="1820"/>
                </a:cubicBezTo>
                <a:moveTo>
                  <a:pt x="536" y="892"/>
                </a:moveTo>
                <a:cubicBezTo>
                  <a:pt x="536" y="892"/>
                  <a:pt x="536" y="892"/>
                  <a:pt x="536" y="892"/>
                </a:cubicBezTo>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33" name="Freeform 8"/>
          <p:cNvSpPr>
            <a:spLocks/>
          </p:cNvSpPr>
          <p:nvPr userDrawn="1"/>
        </p:nvSpPr>
        <p:spPr bwMode="black">
          <a:xfrm>
            <a:off x="613731" y="4119455"/>
            <a:ext cx="80963" cy="85725"/>
          </a:xfrm>
          <a:custGeom>
            <a:avLst/>
            <a:gdLst>
              <a:gd name="T0" fmla="*/ 44 w 56"/>
              <a:gd name="T1" fmla="*/ 60 h 60"/>
              <a:gd name="T2" fmla="*/ 55 w 56"/>
              <a:gd name="T3" fmla="*/ 0 h 60"/>
              <a:gd name="T4" fmla="*/ 44 w 56"/>
              <a:gd name="T5" fmla="*/ 60 h 60"/>
            </a:gdLst>
            <a:ahLst/>
            <a:cxnLst>
              <a:cxn ang="0">
                <a:pos x="T0" y="T1"/>
              </a:cxn>
              <a:cxn ang="0">
                <a:pos x="T2" y="T3"/>
              </a:cxn>
              <a:cxn ang="0">
                <a:pos x="T4" y="T5"/>
              </a:cxn>
            </a:cxnLst>
            <a:rect l="0" t="0" r="r" b="b"/>
            <a:pathLst>
              <a:path w="56" h="60">
                <a:moveTo>
                  <a:pt x="44" y="60"/>
                </a:moveTo>
                <a:cubicBezTo>
                  <a:pt x="54" y="42"/>
                  <a:pt x="56" y="21"/>
                  <a:pt x="55" y="0"/>
                </a:cubicBezTo>
                <a:cubicBezTo>
                  <a:pt x="42" y="21"/>
                  <a:pt x="0" y="51"/>
                  <a:pt x="44" y="60"/>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34" name="Freeform 9"/>
          <p:cNvSpPr>
            <a:spLocks/>
          </p:cNvSpPr>
          <p:nvPr userDrawn="1"/>
        </p:nvSpPr>
        <p:spPr bwMode="grayWhite">
          <a:xfrm>
            <a:off x="1350331" y="-711310"/>
            <a:ext cx="1066800" cy="1905001"/>
          </a:xfrm>
          <a:custGeom>
            <a:avLst/>
            <a:gdLst>
              <a:gd name="T0" fmla="*/ 407 w 742"/>
              <a:gd name="T1" fmla="*/ 1287 h 1326"/>
              <a:gd name="T2" fmla="*/ 203 w 742"/>
              <a:gd name="T3" fmla="*/ 1210 h 1326"/>
              <a:gd name="T4" fmla="*/ 193 w 742"/>
              <a:gd name="T5" fmla="*/ 1187 h 1326"/>
              <a:gd name="T6" fmla="*/ 201 w 742"/>
              <a:gd name="T7" fmla="*/ 1142 h 1326"/>
              <a:gd name="T8" fmla="*/ 198 w 742"/>
              <a:gd name="T9" fmla="*/ 1060 h 1326"/>
              <a:gd name="T10" fmla="*/ 172 w 742"/>
              <a:gd name="T11" fmla="*/ 1008 h 1326"/>
              <a:gd name="T12" fmla="*/ 145 w 742"/>
              <a:gd name="T13" fmla="*/ 946 h 1326"/>
              <a:gd name="T14" fmla="*/ 125 w 742"/>
              <a:gd name="T15" fmla="*/ 903 h 1326"/>
              <a:gd name="T16" fmla="*/ 111 w 742"/>
              <a:gd name="T17" fmla="*/ 871 h 1326"/>
              <a:gd name="T18" fmla="*/ 97 w 742"/>
              <a:gd name="T19" fmla="*/ 843 h 1326"/>
              <a:gd name="T20" fmla="*/ 85 w 742"/>
              <a:gd name="T21" fmla="*/ 826 h 1326"/>
              <a:gd name="T22" fmla="*/ 77 w 742"/>
              <a:gd name="T23" fmla="*/ 810 h 1326"/>
              <a:gd name="T24" fmla="*/ 65 w 742"/>
              <a:gd name="T25" fmla="*/ 772 h 1326"/>
              <a:gd name="T26" fmla="*/ 51 w 742"/>
              <a:gd name="T27" fmla="*/ 731 h 1326"/>
              <a:gd name="T28" fmla="*/ 38 w 742"/>
              <a:gd name="T29" fmla="*/ 706 h 1326"/>
              <a:gd name="T30" fmla="*/ 19 w 742"/>
              <a:gd name="T31" fmla="*/ 686 h 1326"/>
              <a:gd name="T32" fmla="*/ 9 w 742"/>
              <a:gd name="T33" fmla="*/ 657 h 1326"/>
              <a:gd name="T34" fmla="*/ 13 w 742"/>
              <a:gd name="T35" fmla="*/ 632 h 1326"/>
              <a:gd name="T36" fmla="*/ 218 w 742"/>
              <a:gd name="T37" fmla="*/ 44 h 1326"/>
              <a:gd name="T38" fmla="*/ 234 w 742"/>
              <a:gd name="T39" fmla="*/ 0 h 1326"/>
              <a:gd name="T40" fmla="*/ 323 w 742"/>
              <a:gd name="T41" fmla="*/ 29 h 1326"/>
              <a:gd name="T42" fmla="*/ 487 w 742"/>
              <a:gd name="T43" fmla="*/ 81 h 1326"/>
              <a:gd name="T44" fmla="*/ 651 w 742"/>
              <a:gd name="T45" fmla="*/ 129 h 1326"/>
              <a:gd name="T46" fmla="*/ 740 w 742"/>
              <a:gd name="T47" fmla="*/ 156 h 1326"/>
              <a:gd name="T48" fmla="*/ 724 w 742"/>
              <a:gd name="T49" fmla="*/ 220 h 1326"/>
              <a:gd name="T50" fmla="*/ 709 w 742"/>
              <a:gd name="T51" fmla="*/ 225 h 1326"/>
              <a:gd name="T52" fmla="*/ 657 w 742"/>
              <a:gd name="T53" fmla="*/ 277 h 1326"/>
              <a:gd name="T54" fmla="*/ 671 w 742"/>
              <a:gd name="T55" fmla="*/ 288 h 1326"/>
              <a:gd name="T56" fmla="*/ 697 w 742"/>
              <a:gd name="T57" fmla="*/ 287 h 1326"/>
              <a:gd name="T58" fmla="*/ 711 w 742"/>
              <a:gd name="T59" fmla="*/ 270 h 1326"/>
              <a:gd name="T60" fmla="*/ 716 w 742"/>
              <a:gd name="T61" fmla="*/ 264 h 1326"/>
              <a:gd name="T62" fmla="*/ 702 w 742"/>
              <a:gd name="T63" fmla="*/ 331 h 1326"/>
              <a:gd name="T64" fmla="*/ 629 w 742"/>
              <a:gd name="T65" fmla="*/ 635 h 1326"/>
              <a:gd name="T66" fmla="*/ 595 w 742"/>
              <a:gd name="T67" fmla="*/ 777 h 1326"/>
              <a:gd name="T68" fmla="*/ 532 w 742"/>
              <a:gd name="T69" fmla="*/ 1041 h 1326"/>
              <a:gd name="T70" fmla="*/ 466 w 742"/>
              <a:gd name="T71" fmla="*/ 1302 h 1326"/>
              <a:gd name="T72" fmla="*/ 407 w 742"/>
              <a:gd name="T73" fmla="*/ 1287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2" h="1326">
                <a:moveTo>
                  <a:pt x="407" y="1287"/>
                </a:moveTo>
                <a:cubicBezTo>
                  <a:pt x="193" y="1230"/>
                  <a:pt x="216" y="1239"/>
                  <a:pt x="203" y="1210"/>
                </a:cubicBezTo>
                <a:cubicBezTo>
                  <a:pt x="193" y="1187"/>
                  <a:pt x="193" y="1187"/>
                  <a:pt x="193" y="1187"/>
                </a:cubicBezTo>
                <a:cubicBezTo>
                  <a:pt x="201" y="1142"/>
                  <a:pt x="201" y="1142"/>
                  <a:pt x="201" y="1142"/>
                </a:cubicBezTo>
                <a:cubicBezTo>
                  <a:pt x="211" y="1096"/>
                  <a:pt x="210" y="1084"/>
                  <a:pt x="198" y="1060"/>
                </a:cubicBezTo>
                <a:cubicBezTo>
                  <a:pt x="194" y="1051"/>
                  <a:pt x="182" y="1028"/>
                  <a:pt x="172" y="1008"/>
                </a:cubicBezTo>
                <a:cubicBezTo>
                  <a:pt x="162" y="988"/>
                  <a:pt x="150" y="960"/>
                  <a:pt x="145" y="946"/>
                </a:cubicBezTo>
                <a:cubicBezTo>
                  <a:pt x="140" y="932"/>
                  <a:pt x="131" y="913"/>
                  <a:pt x="125" y="903"/>
                </a:cubicBezTo>
                <a:cubicBezTo>
                  <a:pt x="118" y="893"/>
                  <a:pt x="112" y="879"/>
                  <a:pt x="111" y="871"/>
                </a:cubicBezTo>
                <a:cubicBezTo>
                  <a:pt x="109" y="863"/>
                  <a:pt x="103" y="851"/>
                  <a:pt x="97" y="843"/>
                </a:cubicBezTo>
                <a:cubicBezTo>
                  <a:pt x="90" y="836"/>
                  <a:pt x="85" y="828"/>
                  <a:pt x="85" y="826"/>
                </a:cubicBezTo>
                <a:cubicBezTo>
                  <a:pt x="85" y="824"/>
                  <a:pt x="81" y="817"/>
                  <a:pt x="77" y="810"/>
                </a:cubicBezTo>
                <a:cubicBezTo>
                  <a:pt x="72" y="803"/>
                  <a:pt x="67" y="787"/>
                  <a:pt x="65" y="772"/>
                </a:cubicBezTo>
                <a:cubicBezTo>
                  <a:pt x="62" y="755"/>
                  <a:pt x="57" y="739"/>
                  <a:pt x="51" y="731"/>
                </a:cubicBezTo>
                <a:cubicBezTo>
                  <a:pt x="46" y="723"/>
                  <a:pt x="40" y="712"/>
                  <a:pt x="38" y="706"/>
                </a:cubicBezTo>
                <a:cubicBezTo>
                  <a:pt x="35" y="700"/>
                  <a:pt x="27" y="691"/>
                  <a:pt x="19" y="686"/>
                </a:cubicBezTo>
                <a:cubicBezTo>
                  <a:pt x="5" y="677"/>
                  <a:pt x="0" y="662"/>
                  <a:pt x="9" y="657"/>
                </a:cubicBezTo>
                <a:cubicBezTo>
                  <a:pt x="11" y="655"/>
                  <a:pt x="13" y="644"/>
                  <a:pt x="13" y="632"/>
                </a:cubicBezTo>
                <a:cubicBezTo>
                  <a:pt x="13" y="610"/>
                  <a:pt x="39" y="535"/>
                  <a:pt x="218" y="44"/>
                </a:cubicBezTo>
                <a:cubicBezTo>
                  <a:pt x="234" y="0"/>
                  <a:pt x="234" y="0"/>
                  <a:pt x="234" y="0"/>
                </a:cubicBezTo>
                <a:cubicBezTo>
                  <a:pt x="323" y="29"/>
                  <a:pt x="323" y="29"/>
                  <a:pt x="323" y="29"/>
                </a:cubicBezTo>
                <a:cubicBezTo>
                  <a:pt x="371" y="45"/>
                  <a:pt x="445" y="69"/>
                  <a:pt x="487" y="81"/>
                </a:cubicBezTo>
                <a:cubicBezTo>
                  <a:pt x="529" y="93"/>
                  <a:pt x="603" y="115"/>
                  <a:pt x="651" y="129"/>
                </a:cubicBezTo>
                <a:cubicBezTo>
                  <a:pt x="699" y="143"/>
                  <a:pt x="739" y="155"/>
                  <a:pt x="740" y="156"/>
                </a:cubicBezTo>
                <a:cubicBezTo>
                  <a:pt x="742" y="158"/>
                  <a:pt x="728" y="217"/>
                  <a:pt x="724" y="220"/>
                </a:cubicBezTo>
                <a:cubicBezTo>
                  <a:pt x="721" y="221"/>
                  <a:pt x="715" y="224"/>
                  <a:pt x="709" y="225"/>
                </a:cubicBezTo>
                <a:cubicBezTo>
                  <a:pt x="699" y="228"/>
                  <a:pt x="657" y="269"/>
                  <a:pt x="657" y="277"/>
                </a:cubicBezTo>
                <a:cubicBezTo>
                  <a:pt x="657" y="279"/>
                  <a:pt x="664" y="284"/>
                  <a:pt x="671" y="288"/>
                </a:cubicBezTo>
                <a:cubicBezTo>
                  <a:pt x="685" y="294"/>
                  <a:pt x="686" y="294"/>
                  <a:pt x="697" y="287"/>
                </a:cubicBezTo>
                <a:cubicBezTo>
                  <a:pt x="703" y="282"/>
                  <a:pt x="710" y="275"/>
                  <a:pt x="711" y="270"/>
                </a:cubicBezTo>
                <a:cubicBezTo>
                  <a:pt x="713" y="266"/>
                  <a:pt x="715" y="263"/>
                  <a:pt x="716" y="264"/>
                </a:cubicBezTo>
                <a:cubicBezTo>
                  <a:pt x="717" y="265"/>
                  <a:pt x="710" y="295"/>
                  <a:pt x="702" y="331"/>
                </a:cubicBezTo>
                <a:cubicBezTo>
                  <a:pt x="681" y="416"/>
                  <a:pt x="659" y="508"/>
                  <a:pt x="629" y="635"/>
                </a:cubicBezTo>
                <a:cubicBezTo>
                  <a:pt x="616" y="691"/>
                  <a:pt x="600" y="755"/>
                  <a:pt x="595" y="777"/>
                </a:cubicBezTo>
                <a:cubicBezTo>
                  <a:pt x="568" y="887"/>
                  <a:pt x="545" y="987"/>
                  <a:pt x="532" y="1041"/>
                </a:cubicBezTo>
                <a:cubicBezTo>
                  <a:pt x="464" y="1326"/>
                  <a:pt x="470" y="1303"/>
                  <a:pt x="466" y="1302"/>
                </a:cubicBezTo>
                <a:cubicBezTo>
                  <a:pt x="464" y="1302"/>
                  <a:pt x="438" y="1295"/>
                  <a:pt x="407" y="1287"/>
                </a:cubicBezTo>
                <a:close/>
              </a:path>
            </a:pathLst>
          </a:custGeom>
          <a:solidFill>
            <a:srgbClr val="00447B"/>
          </a:solidFill>
          <a:ln w="22225" cap="flat">
            <a:solidFill>
              <a:srgbClr val="D3D3D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35" name="Freeform 10"/>
          <p:cNvSpPr>
            <a:spLocks/>
          </p:cNvSpPr>
          <p:nvPr userDrawn="1"/>
        </p:nvSpPr>
        <p:spPr bwMode="grayWhite">
          <a:xfrm>
            <a:off x="442280" y="304691"/>
            <a:ext cx="349251" cy="550863"/>
          </a:xfrm>
          <a:custGeom>
            <a:avLst/>
            <a:gdLst>
              <a:gd name="T0" fmla="*/ 189 w 243"/>
              <a:gd name="T1" fmla="*/ 371 h 383"/>
              <a:gd name="T2" fmla="*/ 125 w 243"/>
              <a:gd name="T3" fmla="*/ 287 h 383"/>
              <a:gd name="T4" fmla="*/ 113 w 243"/>
              <a:gd name="T5" fmla="*/ 270 h 383"/>
              <a:gd name="T6" fmla="*/ 87 w 243"/>
              <a:gd name="T7" fmla="*/ 226 h 383"/>
              <a:gd name="T8" fmla="*/ 76 w 243"/>
              <a:gd name="T9" fmla="*/ 200 h 383"/>
              <a:gd name="T10" fmla="*/ 60 w 243"/>
              <a:gd name="T11" fmla="*/ 168 h 383"/>
              <a:gd name="T12" fmla="*/ 36 w 243"/>
              <a:gd name="T13" fmla="*/ 122 h 383"/>
              <a:gd name="T14" fmla="*/ 15 w 243"/>
              <a:gd name="T15" fmla="*/ 70 h 383"/>
              <a:gd name="T16" fmla="*/ 5 w 243"/>
              <a:gd name="T17" fmla="*/ 32 h 383"/>
              <a:gd name="T18" fmla="*/ 11 w 243"/>
              <a:gd name="T19" fmla="*/ 10 h 383"/>
              <a:gd name="T20" fmla="*/ 31 w 243"/>
              <a:gd name="T21" fmla="*/ 0 h 383"/>
              <a:gd name="T22" fmla="*/ 101 w 243"/>
              <a:gd name="T23" fmla="*/ 67 h 383"/>
              <a:gd name="T24" fmla="*/ 127 w 243"/>
              <a:gd name="T25" fmla="*/ 97 h 383"/>
              <a:gd name="T26" fmla="*/ 145 w 243"/>
              <a:gd name="T27" fmla="*/ 120 h 383"/>
              <a:gd name="T28" fmla="*/ 161 w 243"/>
              <a:gd name="T29" fmla="*/ 140 h 383"/>
              <a:gd name="T30" fmla="*/ 180 w 243"/>
              <a:gd name="T31" fmla="*/ 203 h 383"/>
              <a:gd name="T32" fmla="*/ 202 w 243"/>
              <a:gd name="T33" fmla="*/ 255 h 383"/>
              <a:gd name="T34" fmla="*/ 231 w 243"/>
              <a:gd name="T35" fmla="*/ 321 h 383"/>
              <a:gd name="T36" fmla="*/ 239 w 243"/>
              <a:gd name="T37" fmla="*/ 360 h 383"/>
              <a:gd name="T38" fmla="*/ 242 w 243"/>
              <a:gd name="T39" fmla="*/ 377 h 383"/>
              <a:gd name="T40" fmla="*/ 189 w 243"/>
              <a:gd name="T41" fmla="*/ 371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3" h="383">
                <a:moveTo>
                  <a:pt x="189" y="371"/>
                </a:moveTo>
                <a:cubicBezTo>
                  <a:pt x="164" y="354"/>
                  <a:pt x="125" y="304"/>
                  <a:pt x="125" y="287"/>
                </a:cubicBezTo>
                <a:cubicBezTo>
                  <a:pt x="125" y="277"/>
                  <a:pt x="123" y="274"/>
                  <a:pt x="113" y="270"/>
                </a:cubicBezTo>
                <a:cubicBezTo>
                  <a:pt x="102" y="266"/>
                  <a:pt x="92" y="250"/>
                  <a:pt x="87" y="226"/>
                </a:cubicBezTo>
                <a:cubicBezTo>
                  <a:pt x="86" y="219"/>
                  <a:pt x="81" y="207"/>
                  <a:pt x="76" y="200"/>
                </a:cubicBezTo>
                <a:cubicBezTo>
                  <a:pt x="71" y="192"/>
                  <a:pt x="63" y="177"/>
                  <a:pt x="60" y="168"/>
                </a:cubicBezTo>
                <a:cubicBezTo>
                  <a:pt x="56" y="158"/>
                  <a:pt x="45" y="137"/>
                  <a:pt x="36" y="122"/>
                </a:cubicBezTo>
                <a:cubicBezTo>
                  <a:pt x="27" y="106"/>
                  <a:pt x="18" y="86"/>
                  <a:pt x="15" y="70"/>
                </a:cubicBezTo>
                <a:cubicBezTo>
                  <a:pt x="12" y="57"/>
                  <a:pt x="8" y="40"/>
                  <a:pt x="5" y="32"/>
                </a:cubicBezTo>
                <a:cubicBezTo>
                  <a:pt x="0" y="20"/>
                  <a:pt x="0" y="19"/>
                  <a:pt x="11" y="10"/>
                </a:cubicBezTo>
                <a:cubicBezTo>
                  <a:pt x="18" y="4"/>
                  <a:pt x="27" y="0"/>
                  <a:pt x="31" y="0"/>
                </a:cubicBezTo>
                <a:cubicBezTo>
                  <a:pt x="39" y="0"/>
                  <a:pt x="63" y="22"/>
                  <a:pt x="101" y="67"/>
                </a:cubicBezTo>
                <a:cubicBezTo>
                  <a:pt x="113" y="81"/>
                  <a:pt x="125" y="95"/>
                  <a:pt x="127" y="97"/>
                </a:cubicBezTo>
                <a:cubicBezTo>
                  <a:pt x="129" y="100"/>
                  <a:pt x="137" y="110"/>
                  <a:pt x="145" y="120"/>
                </a:cubicBezTo>
                <a:cubicBezTo>
                  <a:pt x="153" y="129"/>
                  <a:pt x="160" y="138"/>
                  <a:pt x="161" y="140"/>
                </a:cubicBezTo>
                <a:cubicBezTo>
                  <a:pt x="167" y="144"/>
                  <a:pt x="177" y="180"/>
                  <a:pt x="180" y="203"/>
                </a:cubicBezTo>
                <a:cubicBezTo>
                  <a:pt x="182" y="226"/>
                  <a:pt x="185" y="232"/>
                  <a:pt x="202" y="255"/>
                </a:cubicBezTo>
                <a:cubicBezTo>
                  <a:pt x="225" y="285"/>
                  <a:pt x="227" y="290"/>
                  <a:pt x="231" y="321"/>
                </a:cubicBezTo>
                <a:cubicBezTo>
                  <a:pt x="233" y="334"/>
                  <a:pt x="236" y="351"/>
                  <a:pt x="239" y="360"/>
                </a:cubicBezTo>
                <a:cubicBezTo>
                  <a:pt x="242" y="368"/>
                  <a:pt x="243" y="376"/>
                  <a:pt x="242" y="377"/>
                </a:cubicBezTo>
                <a:cubicBezTo>
                  <a:pt x="236" y="383"/>
                  <a:pt x="202" y="379"/>
                  <a:pt x="189" y="371"/>
                </a:cubicBezTo>
                <a:close/>
              </a:path>
            </a:pathLst>
          </a:custGeom>
          <a:solidFill>
            <a:srgbClr val="D3D3D3"/>
          </a:solidFill>
          <a:ln w="22225" cap="flat">
            <a:solidFill>
              <a:srgbClr val="D3D3D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36" name="Freeform 11"/>
          <p:cNvSpPr>
            <a:spLocks/>
          </p:cNvSpPr>
          <p:nvPr userDrawn="1"/>
        </p:nvSpPr>
        <p:spPr bwMode="grayWhite">
          <a:xfrm>
            <a:off x="366081" y="-1406636"/>
            <a:ext cx="1300163" cy="2462213"/>
          </a:xfrm>
          <a:custGeom>
            <a:avLst/>
            <a:gdLst>
              <a:gd name="T0" fmla="*/ 726 w 905"/>
              <a:gd name="T1" fmla="*/ 1666 h 1714"/>
              <a:gd name="T2" fmla="*/ 332 w 905"/>
              <a:gd name="T3" fmla="*/ 1518 h 1714"/>
              <a:gd name="T4" fmla="*/ 306 w 905"/>
              <a:gd name="T5" fmla="*/ 1468 h 1714"/>
              <a:gd name="T6" fmla="*/ 271 w 905"/>
              <a:gd name="T7" fmla="*/ 1423 h 1714"/>
              <a:gd name="T8" fmla="*/ 204 w 905"/>
              <a:gd name="T9" fmla="*/ 1303 h 1714"/>
              <a:gd name="T10" fmla="*/ 181 w 905"/>
              <a:gd name="T11" fmla="*/ 1243 h 1714"/>
              <a:gd name="T12" fmla="*/ 153 w 905"/>
              <a:gd name="T13" fmla="*/ 1225 h 1714"/>
              <a:gd name="T14" fmla="*/ 132 w 905"/>
              <a:gd name="T15" fmla="*/ 1197 h 1714"/>
              <a:gd name="T16" fmla="*/ 143 w 905"/>
              <a:gd name="T17" fmla="*/ 1089 h 1714"/>
              <a:gd name="T18" fmla="*/ 146 w 905"/>
              <a:gd name="T19" fmla="*/ 1038 h 1714"/>
              <a:gd name="T20" fmla="*/ 116 w 905"/>
              <a:gd name="T21" fmla="*/ 962 h 1714"/>
              <a:gd name="T22" fmla="*/ 121 w 905"/>
              <a:gd name="T23" fmla="*/ 901 h 1714"/>
              <a:gd name="T24" fmla="*/ 123 w 905"/>
              <a:gd name="T25" fmla="*/ 771 h 1714"/>
              <a:gd name="T26" fmla="*/ 206 w 905"/>
              <a:gd name="T27" fmla="*/ 706 h 1714"/>
              <a:gd name="T28" fmla="*/ 242 w 905"/>
              <a:gd name="T29" fmla="*/ 616 h 1714"/>
              <a:gd name="T30" fmla="*/ 186 w 905"/>
              <a:gd name="T31" fmla="*/ 498 h 1714"/>
              <a:gd name="T32" fmla="*/ 199 w 905"/>
              <a:gd name="T33" fmla="*/ 367 h 1714"/>
              <a:gd name="T34" fmla="*/ 188 w 905"/>
              <a:gd name="T35" fmla="*/ 260 h 1714"/>
              <a:gd name="T36" fmla="*/ 170 w 905"/>
              <a:gd name="T37" fmla="*/ 171 h 1714"/>
              <a:gd name="T38" fmla="*/ 139 w 905"/>
              <a:gd name="T39" fmla="*/ 96 h 1714"/>
              <a:gd name="T40" fmla="*/ 68 w 905"/>
              <a:gd name="T41" fmla="*/ 119 h 1714"/>
              <a:gd name="T42" fmla="*/ 12 w 905"/>
              <a:gd name="T43" fmla="*/ 143 h 1714"/>
              <a:gd name="T44" fmla="*/ 8 w 905"/>
              <a:gd name="T45" fmla="*/ 50 h 1714"/>
              <a:gd name="T46" fmla="*/ 100 w 905"/>
              <a:gd name="T47" fmla="*/ 58 h 1714"/>
              <a:gd name="T48" fmla="*/ 496 w 905"/>
              <a:gd name="T49" fmla="*/ 295 h 1714"/>
              <a:gd name="T50" fmla="*/ 814 w 905"/>
              <a:gd name="T51" fmla="*/ 443 h 1714"/>
              <a:gd name="T52" fmla="*/ 902 w 905"/>
              <a:gd name="T53" fmla="*/ 491 h 1714"/>
              <a:gd name="T54" fmla="*/ 798 w 905"/>
              <a:gd name="T55" fmla="*/ 779 h 1714"/>
              <a:gd name="T56" fmla="*/ 680 w 905"/>
              <a:gd name="T57" fmla="*/ 1137 h 1714"/>
              <a:gd name="T58" fmla="*/ 737 w 905"/>
              <a:gd name="T59" fmla="*/ 1261 h 1714"/>
              <a:gd name="T60" fmla="*/ 762 w 905"/>
              <a:gd name="T61" fmla="*/ 1324 h 1714"/>
              <a:gd name="T62" fmla="*/ 786 w 905"/>
              <a:gd name="T63" fmla="*/ 1368 h 1714"/>
              <a:gd name="T64" fmla="*/ 820 w 905"/>
              <a:gd name="T65" fmla="*/ 1441 h 1714"/>
              <a:gd name="T66" fmla="*/ 880 w 905"/>
              <a:gd name="T67" fmla="*/ 1580 h 1714"/>
              <a:gd name="T68" fmla="*/ 877 w 905"/>
              <a:gd name="T69" fmla="*/ 1702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05" h="1714">
                <a:moveTo>
                  <a:pt x="876" y="1712"/>
                </a:moveTo>
                <a:cubicBezTo>
                  <a:pt x="872" y="1711"/>
                  <a:pt x="790" y="1686"/>
                  <a:pt x="726" y="1666"/>
                </a:cubicBezTo>
                <a:cubicBezTo>
                  <a:pt x="704" y="1659"/>
                  <a:pt x="470" y="1571"/>
                  <a:pt x="374" y="1534"/>
                </a:cubicBezTo>
                <a:cubicBezTo>
                  <a:pt x="358" y="1527"/>
                  <a:pt x="339" y="1520"/>
                  <a:pt x="332" y="1518"/>
                </a:cubicBezTo>
                <a:cubicBezTo>
                  <a:pt x="317" y="1512"/>
                  <a:pt x="314" y="1508"/>
                  <a:pt x="314" y="1490"/>
                </a:cubicBezTo>
                <a:cubicBezTo>
                  <a:pt x="314" y="1479"/>
                  <a:pt x="312" y="1472"/>
                  <a:pt x="306" y="1468"/>
                </a:cubicBezTo>
                <a:cubicBezTo>
                  <a:pt x="282" y="1448"/>
                  <a:pt x="274" y="1439"/>
                  <a:pt x="274" y="1431"/>
                </a:cubicBezTo>
                <a:cubicBezTo>
                  <a:pt x="274" y="1426"/>
                  <a:pt x="273" y="1423"/>
                  <a:pt x="271" y="1423"/>
                </a:cubicBezTo>
                <a:cubicBezTo>
                  <a:pt x="261" y="1423"/>
                  <a:pt x="247" y="1401"/>
                  <a:pt x="245" y="1383"/>
                </a:cubicBezTo>
                <a:cubicBezTo>
                  <a:pt x="241" y="1353"/>
                  <a:pt x="227" y="1327"/>
                  <a:pt x="204" y="1303"/>
                </a:cubicBezTo>
                <a:cubicBezTo>
                  <a:pt x="182" y="1282"/>
                  <a:pt x="182" y="1281"/>
                  <a:pt x="185" y="1262"/>
                </a:cubicBezTo>
                <a:cubicBezTo>
                  <a:pt x="187" y="1246"/>
                  <a:pt x="186" y="1243"/>
                  <a:pt x="181" y="1243"/>
                </a:cubicBezTo>
                <a:cubicBezTo>
                  <a:pt x="178" y="1243"/>
                  <a:pt x="174" y="1241"/>
                  <a:pt x="173" y="1239"/>
                </a:cubicBezTo>
                <a:cubicBezTo>
                  <a:pt x="173" y="1238"/>
                  <a:pt x="164" y="1231"/>
                  <a:pt x="153" y="1225"/>
                </a:cubicBezTo>
                <a:cubicBezTo>
                  <a:pt x="143" y="1219"/>
                  <a:pt x="134" y="1212"/>
                  <a:pt x="134" y="1209"/>
                </a:cubicBezTo>
                <a:cubicBezTo>
                  <a:pt x="134" y="1207"/>
                  <a:pt x="133" y="1201"/>
                  <a:pt x="132" y="1197"/>
                </a:cubicBezTo>
                <a:cubicBezTo>
                  <a:pt x="130" y="1186"/>
                  <a:pt x="129" y="1179"/>
                  <a:pt x="130" y="1136"/>
                </a:cubicBezTo>
                <a:cubicBezTo>
                  <a:pt x="131" y="1100"/>
                  <a:pt x="131" y="1099"/>
                  <a:pt x="143" y="1089"/>
                </a:cubicBezTo>
                <a:cubicBezTo>
                  <a:pt x="154" y="1079"/>
                  <a:pt x="155" y="1077"/>
                  <a:pt x="151" y="1066"/>
                </a:cubicBezTo>
                <a:cubicBezTo>
                  <a:pt x="148" y="1059"/>
                  <a:pt x="146" y="1046"/>
                  <a:pt x="146" y="1038"/>
                </a:cubicBezTo>
                <a:cubicBezTo>
                  <a:pt x="146" y="1026"/>
                  <a:pt x="142" y="1016"/>
                  <a:pt x="130" y="999"/>
                </a:cubicBezTo>
                <a:cubicBezTo>
                  <a:pt x="116" y="979"/>
                  <a:pt x="114" y="974"/>
                  <a:pt x="116" y="962"/>
                </a:cubicBezTo>
                <a:cubicBezTo>
                  <a:pt x="117" y="955"/>
                  <a:pt x="122" y="945"/>
                  <a:pt x="127" y="942"/>
                </a:cubicBezTo>
                <a:cubicBezTo>
                  <a:pt x="136" y="934"/>
                  <a:pt x="135" y="928"/>
                  <a:pt x="121" y="901"/>
                </a:cubicBezTo>
                <a:cubicBezTo>
                  <a:pt x="114" y="887"/>
                  <a:pt x="113" y="877"/>
                  <a:pt x="113" y="833"/>
                </a:cubicBezTo>
                <a:cubicBezTo>
                  <a:pt x="113" y="783"/>
                  <a:pt x="113" y="781"/>
                  <a:pt x="123" y="771"/>
                </a:cubicBezTo>
                <a:cubicBezTo>
                  <a:pt x="129" y="765"/>
                  <a:pt x="143" y="757"/>
                  <a:pt x="155" y="753"/>
                </a:cubicBezTo>
                <a:cubicBezTo>
                  <a:pt x="183" y="742"/>
                  <a:pt x="206" y="721"/>
                  <a:pt x="206" y="706"/>
                </a:cubicBezTo>
                <a:cubicBezTo>
                  <a:pt x="206" y="690"/>
                  <a:pt x="215" y="671"/>
                  <a:pt x="230" y="655"/>
                </a:cubicBezTo>
                <a:cubicBezTo>
                  <a:pt x="241" y="643"/>
                  <a:pt x="242" y="638"/>
                  <a:pt x="242" y="616"/>
                </a:cubicBezTo>
                <a:cubicBezTo>
                  <a:pt x="242" y="594"/>
                  <a:pt x="241" y="591"/>
                  <a:pt x="230" y="581"/>
                </a:cubicBezTo>
                <a:cubicBezTo>
                  <a:pt x="216" y="569"/>
                  <a:pt x="193" y="524"/>
                  <a:pt x="186" y="498"/>
                </a:cubicBezTo>
                <a:cubicBezTo>
                  <a:pt x="182" y="482"/>
                  <a:pt x="183" y="474"/>
                  <a:pt x="192" y="435"/>
                </a:cubicBezTo>
                <a:cubicBezTo>
                  <a:pt x="202" y="395"/>
                  <a:pt x="203" y="387"/>
                  <a:pt x="199" y="367"/>
                </a:cubicBezTo>
                <a:cubicBezTo>
                  <a:pt x="196" y="355"/>
                  <a:pt x="193" y="327"/>
                  <a:pt x="192" y="307"/>
                </a:cubicBezTo>
                <a:cubicBezTo>
                  <a:pt x="191" y="286"/>
                  <a:pt x="189" y="265"/>
                  <a:pt x="188" y="260"/>
                </a:cubicBezTo>
                <a:cubicBezTo>
                  <a:pt x="187" y="256"/>
                  <a:pt x="185" y="245"/>
                  <a:pt x="184" y="236"/>
                </a:cubicBezTo>
                <a:cubicBezTo>
                  <a:pt x="183" y="228"/>
                  <a:pt x="176" y="198"/>
                  <a:pt x="170" y="171"/>
                </a:cubicBezTo>
                <a:cubicBezTo>
                  <a:pt x="163" y="143"/>
                  <a:pt x="157" y="117"/>
                  <a:pt x="156" y="112"/>
                </a:cubicBezTo>
                <a:cubicBezTo>
                  <a:pt x="155" y="106"/>
                  <a:pt x="148" y="100"/>
                  <a:pt x="139" y="96"/>
                </a:cubicBezTo>
                <a:cubicBezTo>
                  <a:pt x="111" y="85"/>
                  <a:pt x="108" y="85"/>
                  <a:pt x="100" y="98"/>
                </a:cubicBezTo>
                <a:cubicBezTo>
                  <a:pt x="95" y="107"/>
                  <a:pt x="86" y="112"/>
                  <a:pt x="68" y="119"/>
                </a:cubicBezTo>
                <a:cubicBezTo>
                  <a:pt x="55" y="124"/>
                  <a:pt x="37" y="131"/>
                  <a:pt x="28" y="135"/>
                </a:cubicBezTo>
                <a:cubicBezTo>
                  <a:pt x="20" y="139"/>
                  <a:pt x="12" y="143"/>
                  <a:pt x="12" y="143"/>
                </a:cubicBezTo>
                <a:cubicBezTo>
                  <a:pt x="11" y="143"/>
                  <a:pt x="12" y="137"/>
                  <a:pt x="14" y="130"/>
                </a:cubicBezTo>
                <a:cubicBezTo>
                  <a:pt x="20" y="110"/>
                  <a:pt x="16" y="61"/>
                  <a:pt x="8" y="50"/>
                </a:cubicBezTo>
                <a:cubicBezTo>
                  <a:pt x="0" y="37"/>
                  <a:pt x="1" y="0"/>
                  <a:pt x="10" y="2"/>
                </a:cubicBezTo>
                <a:cubicBezTo>
                  <a:pt x="13" y="2"/>
                  <a:pt x="53" y="28"/>
                  <a:pt x="100" y="58"/>
                </a:cubicBezTo>
                <a:cubicBezTo>
                  <a:pt x="226" y="141"/>
                  <a:pt x="365" y="225"/>
                  <a:pt x="432" y="260"/>
                </a:cubicBezTo>
                <a:cubicBezTo>
                  <a:pt x="465" y="278"/>
                  <a:pt x="494" y="293"/>
                  <a:pt x="496" y="295"/>
                </a:cubicBezTo>
                <a:cubicBezTo>
                  <a:pt x="507" y="302"/>
                  <a:pt x="630" y="365"/>
                  <a:pt x="676" y="386"/>
                </a:cubicBezTo>
                <a:cubicBezTo>
                  <a:pt x="705" y="399"/>
                  <a:pt x="767" y="424"/>
                  <a:pt x="814" y="443"/>
                </a:cubicBezTo>
                <a:cubicBezTo>
                  <a:pt x="861" y="461"/>
                  <a:pt x="902" y="477"/>
                  <a:pt x="903" y="479"/>
                </a:cubicBezTo>
                <a:cubicBezTo>
                  <a:pt x="905" y="480"/>
                  <a:pt x="905" y="486"/>
                  <a:pt x="902" y="491"/>
                </a:cubicBezTo>
                <a:cubicBezTo>
                  <a:pt x="900" y="496"/>
                  <a:pt x="879" y="554"/>
                  <a:pt x="856" y="619"/>
                </a:cubicBezTo>
                <a:cubicBezTo>
                  <a:pt x="833" y="683"/>
                  <a:pt x="807" y="755"/>
                  <a:pt x="798" y="779"/>
                </a:cubicBezTo>
                <a:cubicBezTo>
                  <a:pt x="706" y="1031"/>
                  <a:pt x="686" y="1088"/>
                  <a:pt x="686" y="1108"/>
                </a:cubicBezTo>
                <a:cubicBezTo>
                  <a:pt x="686" y="1120"/>
                  <a:pt x="684" y="1132"/>
                  <a:pt x="680" y="1137"/>
                </a:cubicBezTo>
                <a:cubicBezTo>
                  <a:pt x="671" y="1150"/>
                  <a:pt x="676" y="1167"/>
                  <a:pt x="691" y="1177"/>
                </a:cubicBezTo>
                <a:cubicBezTo>
                  <a:pt x="710" y="1189"/>
                  <a:pt x="734" y="1233"/>
                  <a:pt x="737" y="1261"/>
                </a:cubicBezTo>
                <a:cubicBezTo>
                  <a:pt x="739" y="1277"/>
                  <a:pt x="743" y="1290"/>
                  <a:pt x="751" y="1302"/>
                </a:cubicBezTo>
                <a:cubicBezTo>
                  <a:pt x="757" y="1312"/>
                  <a:pt x="762" y="1322"/>
                  <a:pt x="762" y="1324"/>
                </a:cubicBezTo>
                <a:cubicBezTo>
                  <a:pt x="762" y="1326"/>
                  <a:pt x="766" y="1333"/>
                  <a:pt x="772" y="1338"/>
                </a:cubicBezTo>
                <a:cubicBezTo>
                  <a:pt x="777" y="1344"/>
                  <a:pt x="783" y="1357"/>
                  <a:pt x="786" y="1368"/>
                </a:cubicBezTo>
                <a:cubicBezTo>
                  <a:pt x="789" y="1378"/>
                  <a:pt x="793" y="1388"/>
                  <a:pt x="795" y="1389"/>
                </a:cubicBezTo>
                <a:cubicBezTo>
                  <a:pt x="800" y="1392"/>
                  <a:pt x="816" y="1426"/>
                  <a:pt x="820" y="1441"/>
                </a:cubicBezTo>
                <a:cubicBezTo>
                  <a:pt x="821" y="1447"/>
                  <a:pt x="835" y="1479"/>
                  <a:pt x="851" y="1510"/>
                </a:cubicBezTo>
                <a:cubicBezTo>
                  <a:pt x="868" y="1544"/>
                  <a:pt x="880" y="1573"/>
                  <a:pt x="880" y="1580"/>
                </a:cubicBezTo>
                <a:cubicBezTo>
                  <a:pt x="880" y="1587"/>
                  <a:pt x="877" y="1609"/>
                  <a:pt x="873" y="1630"/>
                </a:cubicBezTo>
                <a:cubicBezTo>
                  <a:pt x="865" y="1669"/>
                  <a:pt x="867" y="1685"/>
                  <a:pt x="877" y="1702"/>
                </a:cubicBezTo>
                <a:cubicBezTo>
                  <a:pt x="883" y="1711"/>
                  <a:pt x="883" y="1714"/>
                  <a:pt x="876" y="1712"/>
                </a:cubicBezTo>
                <a:close/>
              </a:path>
            </a:pathLst>
          </a:custGeom>
          <a:solidFill>
            <a:srgbClr val="D3D3D3"/>
          </a:solidFill>
          <a:ln w="22225" cap="flat">
            <a:solidFill>
              <a:srgbClr val="D3D3D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37" name="Freeform 12"/>
          <p:cNvSpPr>
            <a:spLocks/>
          </p:cNvSpPr>
          <p:nvPr userDrawn="1"/>
        </p:nvSpPr>
        <p:spPr bwMode="grayWhite">
          <a:xfrm>
            <a:off x="275594" y="-365236"/>
            <a:ext cx="133351" cy="376239"/>
          </a:xfrm>
          <a:custGeom>
            <a:avLst/>
            <a:gdLst>
              <a:gd name="T0" fmla="*/ 22 w 93"/>
              <a:gd name="T1" fmla="*/ 232 h 261"/>
              <a:gd name="T2" fmla="*/ 3 w 93"/>
              <a:gd name="T3" fmla="*/ 86 h 261"/>
              <a:gd name="T4" fmla="*/ 10 w 93"/>
              <a:gd name="T5" fmla="*/ 23 h 261"/>
              <a:gd name="T6" fmla="*/ 15 w 93"/>
              <a:gd name="T7" fmla="*/ 10 h 261"/>
              <a:gd name="T8" fmla="*/ 48 w 93"/>
              <a:gd name="T9" fmla="*/ 11 h 261"/>
              <a:gd name="T10" fmla="*/ 93 w 93"/>
              <a:gd name="T11" fmla="*/ 55 h 261"/>
              <a:gd name="T12" fmla="*/ 57 w 93"/>
              <a:gd name="T13" fmla="*/ 98 h 261"/>
              <a:gd name="T14" fmla="*/ 31 w 93"/>
              <a:gd name="T15" fmla="*/ 204 h 261"/>
              <a:gd name="T16" fmla="*/ 41 w 93"/>
              <a:gd name="T17" fmla="*/ 247 h 261"/>
              <a:gd name="T18" fmla="*/ 22 w 93"/>
              <a:gd name="T19" fmla="*/ 232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261">
                <a:moveTo>
                  <a:pt x="22" y="232"/>
                </a:moveTo>
                <a:cubicBezTo>
                  <a:pt x="6" y="195"/>
                  <a:pt x="0" y="150"/>
                  <a:pt x="3" y="86"/>
                </a:cubicBezTo>
                <a:cubicBezTo>
                  <a:pt x="4" y="49"/>
                  <a:pt x="7" y="27"/>
                  <a:pt x="10" y="23"/>
                </a:cubicBezTo>
                <a:cubicBezTo>
                  <a:pt x="13" y="19"/>
                  <a:pt x="15" y="14"/>
                  <a:pt x="15" y="10"/>
                </a:cubicBezTo>
                <a:cubicBezTo>
                  <a:pt x="15" y="0"/>
                  <a:pt x="32" y="0"/>
                  <a:pt x="48" y="11"/>
                </a:cubicBezTo>
                <a:cubicBezTo>
                  <a:pt x="68" y="24"/>
                  <a:pt x="93" y="49"/>
                  <a:pt x="93" y="55"/>
                </a:cubicBezTo>
                <a:cubicBezTo>
                  <a:pt x="93" y="58"/>
                  <a:pt x="77" y="77"/>
                  <a:pt x="57" y="98"/>
                </a:cubicBezTo>
                <a:cubicBezTo>
                  <a:pt x="15" y="141"/>
                  <a:pt x="15" y="144"/>
                  <a:pt x="31" y="204"/>
                </a:cubicBezTo>
                <a:cubicBezTo>
                  <a:pt x="37" y="223"/>
                  <a:pt x="41" y="243"/>
                  <a:pt x="41" y="247"/>
                </a:cubicBezTo>
                <a:cubicBezTo>
                  <a:pt x="41" y="261"/>
                  <a:pt x="31" y="253"/>
                  <a:pt x="22" y="232"/>
                </a:cubicBezTo>
                <a:close/>
              </a:path>
            </a:pathLst>
          </a:custGeom>
          <a:solidFill>
            <a:srgbClr val="D3D3D3"/>
          </a:solidFill>
          <a:ln w="22225" cap="flat">
            <a:solidFill>
              <a:srgbClr val="D3D3D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38" name="Freeform 13"/>
          <p:cNvSpPr>
            <a:spLocks noEditPoints="1"/>
          </p:cNvSpPr>
          <p:nvPr userDrawn="1"/>
        </p:nvSpPr>
        <p:spPr bwMode="grayWhite">
          <a:xfrm>
            <a:off x="2896557" y="-368410"/>
            <a:ext cx="1158875" cy="1736727"/>
          </a:xfrm>
          <a:custGeom>
            <a:avLst/>
            <a:gdLst>
              <a:gd name="T0" fmla="*/ 104 w 806"/>
              <a:gd name="T1" fmla="*/ 25 h 1209"/>
              <a:gd name="T2" fmla="*/ 96 w 806"/>
              <a:gd name="T3" fmla="*/ 85 h 1209"/>
              <a:gd name="T4" fmla="*/ 84 w 806"/>
              <a:gd name="T5" fmla="*/ 170 h 1209"/>
              <a:gd name="T6" fmla="*/ 80 w 806"/>
              <a:gd name="T7" fmla="*/ 259 h 1209"/>
              <a:gd name="T8" fmla="*/ 56 w 806"/>
              <a:gd name="T9" fmla="*/ 339 h 1209"/>
              <a:gd name="T10" fmla="*/ 48 w 806"/>
              <a:gd name="T11" fmla="*/ 459 h 1209"/>
              <a:gd name="T12" fmla="*/ 36 w 806"/>
              <a:gd name="T13" fmla="*/ 627 h 1209"/>
              <a:gd name="T14" fmla="*/ 28 w 806"/>
              <a:gd name="T15" fmla="*/ 739 h 1209"/>
              <a:gd name="T16" fmla="*/ 20 w 806"/>
              <a:gd name="T17" fmla="*/ 853 h 1209"/>
              <a:gd name="T18" fmla="*/ 12 w 806"/>
              <a:gd name="T19" fmla="*/ 969 h 1209"/>
              <a:gd name="T20" fmla="*/ 0 w 806"/>
              <a:gd name="T21" fmla="*/ 1149 h 1209"/>
              <a:gd name="T22" fmla="*/ 24 w 806"/>
              <a:gd name="T23" fmla="*/ 1177 h 1209"/>
              <a:gd name="T24" fmla="*/ 142 w 806"/>
              <a:gd name="T25" fmla="*/ 1190 h 1209"/>
              <a:gd name="T26" fmla="*/ 274 w 806"/>
              <a:gd name="T27" fmla="*/ 1204 h 1209"/>
              <a:gd name="T28" fmla="*/ 393 w 806"/>
              <a:gd name="T29" fmla="*/ 1209 h 1209"/>
              <a:gd name="T30" fmla="*/ 400 w 806"/>
              <a:gd name="T31" fmla="*/ 1123 h 1209"/>
              <a:gd name="T32" fmla="*/ 408 w 806"/>
              <a:gd name="T33" fmla="*/ 959 h 1209"/>
              <a:gd name="T34" fmla="*/ 487 w 806"/>
              <a:gd name="T35" fmla="*/ 744 h 1209"/>
              <a:gd name="T36" fmla="*/ 580 w 806"/>
              <a:gd name="T37" fmla="*/ 642 h 1209"/>
              <a:gd name="T38" fmla="*/ 711 w 806"/>
              <a:gd name="T39" fmla="*/ 492 h 1209"/>
              <a:gd name="T40" fmla="*/ 786 w 806"/>
              <a:gd name="T41" fmla="*/ 409 h 1209"/>
              <a:gd name="T42" fmla="*/ 767 w 806"/>
              <a:gd name="T43" fmla="*/ 366 h 1209"/>
              <a:gd name="T44" fmla="*/ 698 w 806"/>
              <a:gd name="T45" fmla="*/ 346 h 1209"/>
              <a:gd name="T46" fmla="*/ 613 w 806"/>
              <a:gd name="T47" fmla="*/ 358 h 1209"/>
              <a:gd name="T48" fmla="*/ 601 w 806"/>
              <a:gd name="T49" fmla="*/ 281 h 1209"/>
              <a:gd name="T50" fmla="*/ 533 w 806"/>
              <a:gd name="T51" fmla="*/ 167 h 1209"/>
              <a:gd name="T52" fmla="*/ 494 w 806"/>
              <a:gd name="T53" fmla="*/ 68 h 1209"/>
              <a:gd name="T54" fmla="*/ 475 w 806"/>
              <a:gd name="T55" fmla="*/ 40 h 1209"/>
              <a:gd name="T56" fmla="*/ 418 w 806"/>
              <a:gd name="T57" fmla="*/ 35 h 1209"/>
              <a:gd name="T58" fmla="*/ 348 w 806"/>
              <a:gd name="T59" fmla="*/ 27 h 1209"/>
              <a:gd name="T60" fmla="*/ 280 w 806"/>
              <a:gd name="T61" fmla="*/ 19 h 1209"/>
              <a:gd name="T62" fmla="*/ 168 w 806"/>
              <a:gd name="T63" fmla="*/ 7 h 1209"/>
              <a:gd name="T64" fmla="*/ 107 w 806"/>
              <a:gd name="T65" fmla="*/ 0 h 1209"/>
              <a:gd name="T66" fmla="*/ 255 w 806"/>
              <a:gd name="T67" fmla="*/ 710 h 1209"/>
              <a:gd name="T68" fmla="*/ 289 w 806"/>
              <a:gd name="T69" fmla="*/ 788 h 1209"/>
              <a:gd name="T70" fmla="*/ 306 w 806"/>
              <a:gd name="T71" fmla="*/ 858 h 1209"/>
              <a:gd name="T72" fmla="*/ 339 w 806"/>
              <a:gd name="T73" fmla="*/ 1001 h 1209"/>
              <a:gd name="T74" fmla="*/ 313 w 806"/>
              <a:gd name="T75" fmla="*/ 1051 h 1209"/>
              <a:gd name="T76" fmla="*/ 292 w 806"/>
              <a:gd name="T77" fmla="*/ 1007 h 1209"/>
              <a:gd name="T78" fmla="*/ 307 w 806"/>
              <a:gd name="T79" fmla="*/ 970 h 1209"/>
              <a:gd name="T80" fmla="*/ 293 w 806"/>
              <a:gd name="T81" fmla="*/ 949 h 1209"/>
              <a:gd name="T82" fmla="*/ 283 w 806"/>
              <a:gd name="T83" fmla="*/ 934 h 1209"/>
              <a:gd name="T84" fmla="*/ 231 w 806"/>
              <a:gd name="T85" fmla="*/ 883 h 1209"/>
              <a:gd name="T86" fmla="*/ 201 w 806"/>
              <a:gd name="T87" fmla="*/ 824 h 1209"/>
              <a:gd name="T88" fmla="*/ 175 w 806"/>
              <a:gd name="T89" fmla="*/ 776 h 1209"/>
              <a:gd name="T90" fmla="*/ 136 w 806"/>
              <a:gd name="T91" fmla="*/ 827 h 1209"/>
              <a:gd name="T92" fmla="*/ 192 w 806"/>
              <a:gd name="T93" fmla="*/ 951 h 1209"/>
              <a:gd name="T94" fmla="*/ 208 w 806"/>
              <a:gd name="T95" fmla="*/ 1024 h 1209"/>
              <a:gd name="T96" fmla="*/ 188 w 806"/>
              <a:gd name="T97" fmla="*/ 1072 h 1209"/>
              <a:gd name="T98" fmla="*/ 128 w 806"/>
              <a:gd name="T99" fmla="*/ 923 h 1209"/>
              <a:gd name="T100" fmla="*/ 98 w 806"/>
              <a:gd name="T101" fmla="*/ 877 h 1209"/>
              <a:gd name="T102" fmla="*/ 109 w 806"/>
              <a:gd name="T103" fmla="*/ 832 h 1209"/>
              <a:gd name="T104" fmla="*/ 70 w 806"/>
              <a:gd name="T105" fmla="*/ 763 h 1209"/>
              <a:gd name="T106" fmla="*/ 90 w 806"/>
              <a:gd name="T107" fmla="*/ 727 h 1209"/>
              <a:gd name="T108" fmla="*/ 112 w 806"/>
              <a:gd name="T109" fmla="*/ 700 h 1209"/>
              <a:gd name="T110" fmla="*/ 151 w 806"/>
              <a:gd name="T111" fmla="*/ 744 h 1209"/>
              <a:gd name="T112" fmla="*/ 166 w 806"/>
              <a:gd name="T113" fmla="*/ 738 h 1209"/>
              <a:gd name="T114" fmla="*/ 221 w 806"/>
              <a:gd name="T115" fmla="*/ 687 h 1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06" h="1209">
                <a:moveTo>
                  <a:pt x="107" y="0"/>
                </a:moveTo>
                <a:cubicBezTo>
                  <a:pt x="104" y="25"/>
                  <a:pt x="104" y="25"/>
                  <a:pt x="104" y="25"/>
                </a:cubicBezTo>
                <a:cubicBezTo>
                  <a:pt x="103" y="39"/>
                  <a:pt x="101" y="53"/>
                  <a:pt x="100" y="57"/>
                </a:cubicBezTo>
                <a:cubicBezTo>
                  <a:pt x="100" y="60"/>
                  <a:pt x="98" y="72"/>
                  <a:pt x="96" y="85"/>
                </a:cubicBezTo>
                <a:cubicBezTo>
                  <a:pt x="95" y="97"/>
                  <a:pt x="93" y="109"/>
                  <a:pt x="92" y="113"/>
                </a:cubicBezTo>
                <a:cubicBezTo>
                  <a:pt x="92" y="116"/>
                  <a:pt x="88" y="142"/>
                  <a:pt x="84" y="170"/>
                </a:cubicBezTo>
                <a:cubicBezTo>
                  <a:pt x="78" y="219"/>
                  <a:pt x="78" y="223"/>
                  <a:pt x="84" y="233"/>
                </a:cubicBezTo>
                <a:cubicBezTo>
                  <a:pt x="91" y="245"/>
                  <a:pt x="91" y="245"/>
                  <a:pt x="80" y="259"/>
                </a:cubicBezTo>
                <a:cubicBezTo>
                  <a:pt x="73" y="267"/>
                  <a:pt x="66" y="276"/>
                  <a:pt x="64" y="280"/>
                </a:cubicBezTo>
                <a:cubicBezTo>
                  <a:pt x="61" y="284"/>
                  <a:pt x="58" y="310"/>
                  <a:pt x="56" y="339"/>
                </a:cubicBezTo>
                <a:cubicBezTo>
                  <a:pt x="55" y="367"/>
                  <a:pt x="53" y="398"/>
                  <a:pt x="52" y="407"/>
                </a:cubicBezTo>
                <a:cubicBezTo>
                  <a:pt x="52" y="415"/>
                  <a:pt x="50" y="439"/>
                  <a:pt x="48" y="459"/>
                </a:cubicBezTo>
                <a:cubicBezTo>
                  <a:pt x="47" y="478"/>
                  <a:pt x="45" y="505"/>
                  <a:pt x="44" y="519"/>
                </a:cubicBezTo>
                <a:cubicBezTo>
                  <a:pt x="40" y="573"/>
                  <a:pt x="38" y="596"/>
                  <a:pt x="36" y="627"/>
                </a:cubicBezTo>
                <a:cubicBezTo>
                  <a:pt x="35" y="644"/>
                  <a:pt x="33" y="668"/>
                  <a:pt x="32" y="679"/>
                </a:cubicBezTo>
                <a:cubicBezTo>
                  <a:pt x="31" y="690"/>
                  <a:pt x="29" y="717"/>
                  <a:pt x="28" y="739"/>
                </a:cubicBezTo>
                <a:cubicBezTo>
                  <a:pt x="27" y="761"/>
                  <a:pt x="25" y="786"/>
                  <a:pt x="24" y="795"/>
                </a:cubicBezTo>
                <a:cubicBezTo>
                  <a:pt x="23" y="803"/>
                  <a:pt x="22" y="829"/>
                  <a:pt x="20" y="853"/>
                </a:cubicBezTo>
                <a:cubicBezTo>
                  <a:pt x="19" y="876"/>
                  <a:pt x="17" y="901"/>
                  <a:pt x="16" y="909"/>
                </a:cubicBezTo>
                <a:cubicBezTo>
                  <a:pt x="15" y="916"/>
                  <a:pt x="14" y="943"/>
                  <a:pt x="12" y="969"/>
                </a:cubicBezTo>
                <a:cubicBezTo>
                  <a:pt x="10" y="994"/>
                  <a:pt x="9" y="1017"/>
                  <a:pt x="8" y="1021"/>
                </a:cubicBezTo>
                <a:cubicBezTo>
                  <a:pt x="6" y="1031"/>
                  <a:pt x="1" y="1122"/>
                  <a:pt x="0" y="1149"/>
                </a:cubicBezTo>
                <a:cubicBezTo>
                  <a:pt x="0" y="1175"/>
                  <a:pt x="0" y="1175"/>
                  <a:pt x="0" y="1175"/>
                </a:cubicBezTo>
                <a:cubicBezTo>
                  <a:pt x="24" y="1177"/>
                  <a:pt x="24" y="1177"/>
                  <a:pt x="24" y="1177"/>
                </a:cubicBezTo>
                <a:cubicBezTo>
                  <a:pt x="63" y="1181"/>
                  <a:pt x="99" y="1185"/>
                  <a:pt x="110" y="1187"/>
                </a:cubicBezTo>
                <a:cubicBezTo>
                  <a:pt x="116" y="1187"/>
                  <a:pt x="130" y="1189"/>
                  <a:pt x="142" y="1190"/>
                </a:cubicBezTo>
                <a:cubicBezTo>
                  <a:pt x="165" y="1193"/>
                  <a:pt x="179" y="1195"/>
                  <a:pt x="214" y="1199"/>
                </a:cubicBezTo>
                <a:cubicBezTo>
                  <a:pt x="226" y="1200"/>
                  <a:pt x="253" y="1203"/>
                  <a:pt x="274" y="1204"/>
                </a:cubicBezTo>
                <a:cubicBezTo>
                  <a:pt x="295" y="1205"/>
                  <a:pt x="330" y="1207"/>
                  <a:pt x="353" y="1208"/>
                </a:cubicBezTo>
                <a:cubicBezTo>
                  <a:pt x="393" y="1209"/>
                  <a:pt x="393" y="1209"/>
                  <a:pt x="393" y="1209"/>
                </a:cubicBezTo>
                <a:cubicBezTo>
                  <a:pt x="396" y="1190"/>
                  <a:pt x="396" y="1190"/>
                  <a:pt x="396" y="1190"/>
                </a:cubicBezTo>
                <a:cubicBezTo>
                  <a:pt x="397" y="1179"/>
                  <a:pt x="399" y="1149"/>
                  <a:pt x="400" y="1123"/>
                </a:cubicBezTo>
                <a:cubicBezTo>
                  <a:pt x="401" y="1096"/>
                  <a:pt x="403" y="1062"/>
                  <a:pt x="404" y="1047"/>
                </a:cubicBezTo>
                <a:cubicBezTo>
                  <a:pt x="405" y="1031"/>
                  <a:pt x="407" y="992"/>
                  <a:pt x="408" y="959"/>
                </a:cubicBezTo>
                <a:cubicBezTo>
                  <a:pt x="413" y="844"/>
                  <a:pt x="414" y="832"/>
                  <a:pt x="423" y="816"/>
                </a:cubicBezTo>
                <a:cubicBezTo>
                  <a:pt x="428" y="808"/>
                  <a:pt x="457" y="776"/>
                  <a:pt x="487" y="744"/>
                </a:cubicBezTo>
                <a:cubicBezTo>
                  <a:pt x="516" y="712"/>
                  <a:pt x="549" y="678"/>
                  <a:pt x="559" y="667"/>
                </a:cubicBezTo>
                <a:cubicBezTo>
                  <a:pt x="568" y="656"/>
                  <a:pt x="578" y="645"/>
                  <a:pt x="580" y="642"/>
                </a:cubicBezTo>
                <a:cubicBezTo>
                  <a:pt x="619" y="599"/>
                  <a:pt x="637" y="578"/>
                  <a:pt x="658" y="553"/>
                </a:cubicBezTo>
                <a:cubicBezTo>
                  <a:pt x="672" y="536"/>
                  <a:pt x="695" y="509"/>
                  <a:pt x="711" y="492"/>
                </a:cubicBezTo>
                <a:cubicBezTo>
                  <a:pt x="726" y="475"/>
                  <a:pt x="744" y="455"/>
                  <a:pt x="752" y="446"/>
                </a:cubicBezTo>
                <a:cubicBezTo>
                  <a:pt x="759" y="438"/>
                  <a:pt x="775" y="421"/>
                  <a:pt x="786" y="409"/>
                </a:cubicBezTo>
                <a:cubicBezTo>
                  <a:pt x="797" y="396"/>
                  <a:pt x="806" y="385"/>
                  <a:pt x="806" y="382"/>
                </a:cubicBezTo>
                <a:cubicBezTo>
                  <a:pt x="806" y="378"/>
                  <a:pt x="785" y="369"/>
                  <a:pt x="767" y="366"/>
                </a:cubicBezTo>
                <a:cubicBezTo>
                  <a:pt x="739" y="362"/>
                  <a:pt x="732" y="359"/>
                  <a:pt x="727" y="352"/>
                </a:cubicBezTo>
                <a:cubicBezTo>
                  <a:pt x="723" y="347"/>
                  <a:pt x="717" y="345"/>
                  <a:pt x="698" y="346"/>
                </a:cubicBezTo>
                <a:cubicBezTo>
                  <a:pt x="685" y="346"/>
                  <a:pt x="673" y="349"/>
                  <a:pt x="671" y="351"/>
                </a:cubicBezTo>
                <a:cubicBezTo>
                  <a:pt x="668" y="356"/>
                  <a:pt x="622" y="362"/>
                  <a:pt x="613" y="358"/>
                </a:cubicBezTo>
                <a:cubicBezTo>
                  <a:pt x="608" y="357"/>
                  <a:pt x="608" y="353"/>
                  <a:pt x="610" y="348"/>
                </a:cubicBezTo>
                <a:cubicBezTo>
                  <a:pt x="613" y="339"/>
                  <a:pt x="612" y="334"/>
                  <a:pt x="601" y="281"/>
                </a:cubicBezTo>
                <a:cubicBezTo>
                  <a:pt x="593" y="242"/>
                  <a:pt x="591" y="231"/>
                  <a:pt x="588" y="209"/>
                </a:cubicBezTo>
                <a:cubicBezTo>
                  <a:pt x="585" y="183"/>
                  <a:pt x="574" y="176"/>
                  <a:pt x="533" y="167"/>
                </a:cubicBezTo>
                <a:cubicBezTo>
                  <a:pt x="506" y="161"/>
                  <a:pt x="497" y="158"/>
                  <a:pt x="493" y="151"/>
                </a:cubicBezTo>
                <a:cubicBezTo>
                  <a:pt x="488" y="142"/>
                  <a:pt x="488" y="110"/>
                  <a:pt x="494" y="68"/>
                </a:cubicBezTo>
                <a:cubicBezTo>
                  <a:pt x="497" y="41"/>
                  <a:pt x="497" y="41"/>
                  <a:pt x="497" y="41"/>
                </a:cubicBezTo>
                <a:cubicBezTo>
                  <a:pt x="475" y="40"/>
                  <a:pt x="475" y="40"/>
                  <a:pt x="475" y="40"/>
                </a:cubicBezTo>
                <a:cubicBezTo>
                  <a:pt x="464" y="40"/>
                  <a:pt x="453" y="39"/>
                  <a:pt x="451" y="39"/>
                </a:cubicBezTo>
                <a:cubicBezTo>
                  <a:pt x="449" y="38"/>
                  <a:pt x="435" y="37"/>
                  <a:pt x="418" y="35"/>
                </a:cubicBezTo>
                <a:cubicBezTo>
                  <a:pt x="402" y="33"/>
                  <a:pt x="385" y="31"/>
                  <a:pt x="382" y="31"/>
                </a:cubicBezTo>
                <a:cubicBezTo>
                  <a:pt x="379" y="30"/>
                  <a:pt x="364" y="28"/>
                  <a:pt x="348" y="27"/>
                </a:cubicBezTo>
                <a:cubicBezTo>
                  <a:pt x="333" y="25"/>
                  <a:pt x="317" y="23"/>
                  <a:pt x="312" y="22"/>
                </a:cubicBezTo>
                <a:cubicBezTo>
                  <a:pt x="308" y="22"/>
                  <a:pt x="293" y="20"/>
                  <a:pt x="280" y="19"/>
                </a:cubicBezTo>
                <a:cubicBezTo>
                  <a:pt x="267" y="17"/>
                  <a:pt x="242" y="15"/>
                  <a:pt x="224" y="13"/>
                </a:cubicBezTo>
                <a:cubicBezTo>
                  <a:pt x="207" y="11"/>
                  <a:pt x="181" y="8"/>
                  <a:pt x="168" y="7"/>
                </a:cubicBezTo>
                <a:cubicBezTo>
                  <a:pt x="155" y="6"/>
                  <a:pt x="136" y="3"/>
                  <a:pt x="126" y="2"/>
                </a:cubicBezTo>
                <a:lnTo>
                  <a:pt x="107" y="0"/>
                </a:lnTo>
                <a:close/>
                <a:moveTo>
                  <a:pt x="221" y="687"/>
                </a:moveTo>
                <a:cubicBezTo>
                  <a:pt x="237" y="688"/>
                  <a:pt x="247" y="695"/>
                  <a:pt x="255" y="710"/>
                </a:cubicBezTo>
                <a:cubicBezTo>
                  <a:pt x="259" y="719"/>
                  <a:pt x="265" y="727"/>
                  <a:pt x="266" y="729"/>
                </a:cubicBezTo>
                <a:cubicBezTo>
                  <a:pt x="274" y="734"/>
                  <a:pt x="292" y="782"/>
                  <a:pt x="289" y="788"/>
                </a:cubicBezTo>
                <a:cubicBezTo>
                  <a:pt x="286" y="791"/>
                  <a:pt x="294" y="813"/>
                  <a:pt x="301" y="828"/>
                </a:cubicBezTo>
                <a:cubicBezTo>
                  <a:pt x="304" y="832"/>
                  <a:pt x="306" y="846"/>
                  <a:pt x="306" y="858"/>
                </a:cubicBezTo>
                <a:cubicBezTo>
                  <a:pt x="305" y="880"/>
                  <a:pt x="318" y="929"/>
                  <a:pt x="331" y="950"/>
                </a:cubicBezTo>
                <a:cubicBezTo>
                  <a:pt x="336" y="959"/>
                  <a:pt x="338" y="973"/>
                  <a:pt x="339" y="1001"/>
                </a:cubicBezTo>
                <a:cubicBezTo>
                  <a:pt x="340" y="1038"/>
                  <a:pt x="340" y="1039"/>
                  <a:pt x="330" y="1040"/>
                </a:cubicBezTo>
                <a:cubicBezTo>
                  <a:pt x="325" y="1041"/>
                  <a:pt x="317" y="1046"/>
                  <a:pt x="313" y="1051"/>
                </a:cubicBezTo>
                <a:cubicBezTo>
                  <a:pt x="304" y="1062"/>
                  <a:pt x="297" y="1063"/>
                  <a:pt x="289" y="1055"/>
                </a:cubicBezTo>
                <a:cubicBezTo>
                  <a:pt x="282" y="1048"/>
                  <a:pt x="284" y="1019"/>
                  <a:pt x="292" y="1007"/>
                </a:cubicBezTo>
                <a:cubicBezTo>
                  <a:pt x="295" y="1002"/>
                  <a:pt x="299" y="993"/>
                  <a:pt x="300" y="987"/>
                </a:cubicBezTo>
                <a:cubicBezTo>
                  <a:pt x="301" y="981"/>
                  <a:pt x="304" y="973"/>
                  <a:pt x="307" y="970"/>
                </a:cubicBezTo>
                <a:cubicBezTo>
                  <a:pt x="315" y="960"/>
                  <a:pt x="314" y="951"/>
                  <a:pt x="306" y="945"/>
                </a:cubicBezTo>
                <a:cubicBezTo>
                  <a:pt x="299" y="941"/>
                  <a:pt x="297" y="942"/>
                  <a:pt x="293" y="949"/>
                </a:cubicBezTo>
                <a:cubicBezTo>
                  <a:pt x="288" y="957"/>
                  <a:pt x="278" y="959"/>
                  <a:pt x="278" y="952"/>
                </a:cubicBezTo>
                <a:cubicBezTo>
                  <a:pt x="278" y="949"/>
                  <a:pt x="280" y="941"/>
                  <a:pt x="283" y="934"/>
                </a:cubicBezTo>
                <a:cubicBezTo>
                  <a:pt x="294" y="905"/>
                  <a:pt x="276" y="879"/>
                  <a:pt x="251" y="888"/>
                </a:cubicBezTo>
                <a:cubicBezTo>
                  <a:pt x="241" y="891"/>
                  <a:pt x="238" y="891"/>
                  <a:pt x="231" y="883"/>
                </a:cubicBezTo>
                <a:cubicBezTo>
                  <a:pt x="227" y="878"/>
                  <a:pt x="220" y="866"/>
                  <a:pt x="217" y="856"/>
                </a:cubicBezTo>
                <a:cubicBezTo>
                  <a:pt x="214" y="845"/>
                  <a:pt x="206" y="831"/>
                  <a:pt x="201" y="824"/>
                </a:cubicBezTo>
                <a:cubicBezTo>
                  <a:pt x="194" y="814"/>
                  <a:pt x="192" y="807"/>
                  <a:pt x="193" y="799"/>
                </a:cubicBezTo>
                <a:cubicBezTo>
                  <a:pt x="194" y="788"/>
                  <a:pt x="193" y="786"/>
                  <a:pt x="175" y="776"/>
                </a:cubicBezTo>
                <a:cubicBezTo>
                  <a:pt x="149" y="763"/>
                  <a:pt x="138" y="767"/>
                  <a:pt x="138" y="790"/>
                </a:cubicBezTo>
                <a:cubicBezTo>
                  <a:pt x="137" y="799"/>
                  <a:pt x="136" y="816"/>
                  <a:pt x="136" y="827"/>
                </a:cubicBezTo>
                <a:cubicBezTo>
                  <a:pt x="132" y="882"/>
                  <a:pt x="132" y="882"/>
                  <a:pt x="149" y="895"/>
                </a:cubicBezTo>
                <a:cubicBezTo>
                  <a:pt x="184" y="922"/>
                  <a:pt x="186" y="926"/>
                  <a:pt x="192" y="951"/>
                </a:cubicBezTo>
                <a:cubicBezTo>
                  <a:pt x="195" y="964"/>
                  <a:pt x="197" y="981"/>
                  <a:pt x="197" y="989"/>
                </a:cubicBezTo>
                <a:cubicBezTo>
                  <a:pt x="197" y="997"/>
                  <a:pt x="202" y="1013"/>
                  <a:pt x="208" y="1024"/>
                </a:cubicBezTo>
                <a:cubicBezTo>
                  <a:pt x="221" y="1050"/>
                  <a:pt x="222" y="1071"/>
                  <a:pt x="209" y="1074"/>
                </a:cubicBezTo>
                <a:cubicBezTo>
                  <a:pt x="196" y="1078"/>
                  <a:pt x="191" y="1077"/>
                  <a:pt x="188" y="1072"/>
                </a:cubicBezTo>
                <a:cubicBezTo>
                  <a:pt x="185" y="1068"/>
                  <a:pt x="174" y="1017"/>
                  <a:pt x="166" y="973"/>
                </a:cubicBezTo>
                <a:cubicBezTo>
                  <a:pt x="162" y="948"/>
                  <a:pt x="156" y="941"/>
                  <a:pt x="128" y="923"/>
                </a:cubicBezTo>
                <a:cubicBezTo>
                  <a:pt x="106" y="908"/>
                  <a:pt x="95" y="897"/>
                  <a:pt x="96" y="890"/>
                </a:cubicBezTo>
                <a:cubicBezTo>
                  <a:pt x="97" y="887"/>
                  <a:pt x="97" y="881"/>
                  <a:pt x="98" y="877"/>
                </a:cubicBezTo>
                <a:cubicBezTo>
                  <a:pt x="98" y="873"/>
                  <a:pt x="101" y="867"/>
                  <a:pt x="104" y="864"/>
                </a:cubicBezTo>
                <a:cubicBezTo>
                  <a:pt x="107" y="860"/>
                  <a:pt x="109" y="849"/>
                  <a:pt x="109" y="832"/>
                </a:cubicBezTo>
                <a:cubicBezTo>
                  <a:pt x="109" y="805"/>
                  <a:pt x="109" y="805"/>
                  <a:pt x="94" y="797"/>
                </a:cubicBezTo>
                <a:cubicBezTo>
                  <a:pt x="76" y="787"/>
                  <a:pt x="70" y="778"/>
                  <a:pt x="70" y="763"/>
                </a:cubicBezTo>
                <a:cubicBezTo>
                  <a:pt x="70" y="755"/>
                  <a:pt x="72" y="753"/>
                  <a:pt x="80" y="753"/>
                </a:cubicBezTo>
                <a:cubicBezTo>
                  <a:pt x="95" y="753"/>
                  <a:pt x="100" y="740"/>
                  <a:pt x="90" y="727"/>
                </a:cubicBezTo>
                <a:cubicBezTo>
                  <a:pt x="86" y="722"/>
                  <a:pt x="82" y="715"/>
                  <a:pt x="82" y="713"/>
                </a:cubicBezTo>
                <a:cubicBezTo>
                  <a:pt x="82" y="708"/>
                  <a:pt x="101" y="699"/>
                  <a:pt x="112" y="700"/>
                </a:cubicBezTo>
                <a:cubicBezTo>
                  <a:pt x="121" y="700"/>
                  <a:pt x="142" y="720"/>
                  <a:pt x="142" y="729"/>
                </a:cubicBezTo>
                <a:cubicBezTo>
                  <a:pt x="142" y="732"/>
                  <a:pt x="146" y="739"/>
                  <a:pt x="151" y="744"/>
                </a:cubicBezTo>
                <a:cubicBezTo>
                  <a:pt x="161" y="752"/>
                  <a:pt x="161" y="752"/>
                  <a:pt x="161" y="752"/>
                </a:cubicBezTo>
                <a:cubicBezTo>
                  <a:pt x="166" y="738"/>
                  <a:pt x="166" y="738"/>
                  <a:pt x="166" y="738"/>
                </a:cubicBezTo>
                <a:cubicBezTo>
                  <a:pt x="175" y="713"/>
                  <a:pt x="191" y="693"/>
                  <a:pt x="204" y="690"/>
                </a:cubicBezTo>
                <a:cubicBezTo>
                  <a:pt x="211" y="688"/>
                  <a:pt x="216" y="687"/>
                  <a:pt x="221" y="687"/>
                </a:cubicBezTo>
                <a:close/>
              </a:path>
            </a:pathLst>
          </a:custGeom>
          <a:solidFill>
            <a:srgbClr val="D3D3D3"/>
          </a:solidFill>
          <a:ln w="22225" cap="flat">
            <a:solidFill>
              <a:srgbClr val="D3D3D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39" name="Freeform 14"/>
          <p:cNvSpPr>
            <a:spLocks/>
          </p:cNvSpPr>
          <p:nvPr userDrawn="1"/>
        </p:nvSpPr>
        <p:spPr bwMode="grayWhite">
          <a:xfrm>
            <a:off x="6139820" y="1160354"/>
            <a:ext cx="517525" cy="493713"/>
          </a:xfrm>
          <a:custGeom>
            <a:avLst/>
            <a:gdLst>
              <a:gd name="T0" fmla="*/ 156 w 360"/>
              <a:gd name="T1" fmla="*/ 337 h 343"/>
              <a:gd name="T2" fmla="*/ 130 w 360"/>
              <a:gd name="T3" fmla="*/ 307 h 343"/>
              <a:gd name="T4" fmla="*/ 116 w 360"/>
              <a:gd name="T5" fmla="*/ 293 h 343"/>
              <a:gd name="T6" fmla="*/ 74 w 360"/>
              <a:gd name="T7" fmla="*/ 184 h 343"/>
              <a:gd name="T8" fmla="*/ 65 w 360"/>
              <a:gd name="T9" fmla="*/ 157 h 343"/>
              <a:gd name="T10" fmla="*/ 15 w 360"/>
              <a:gd name="T11" fmla="*/ 132 h 343"/>
              <a:gd name="T12" fmla="*/ 3 w 360"/>
              <a:gd name="T13" fmla="*/ 132 h 343"/>
              <a:gd name="T14" fmla="*/ 1 w 360"/>
              <a:gd name="T15" fmla="*/ 107 h 343"/>
              <a:gd name="T16" fmla="*/ 1 w 360"/>
              <a:gd name="T17" fmla="*/ 79 h 343"/>
              <a:gd name="T18" fmla="*/ 27 w 360"/>
              <a:gd name="T19" fmla="*/ 75 h 343"/>
              <a:gd name="T20" fmla="*/ 90 w 360"/>
              <a:gd name="T21" fmla="*/ 55 h 343"/>
              <a:gd name="T22" fmla="*/ 132 w 360"/>
              <a:gd name="T23" fmla="*/ 35 h 343"/>
              <a:gd name="T24" fmla="*/ 177 w 360"/>
              <a:gd name="T25" fmla="*/ 33 h 343"/>
              <a:gd name="T26" fmla="*/ 199 w 360"/>
              <a:gd name="T27" fmla="*/ 31 h 343"/>
              <a:gd name="T28" fmla="*/ 262 w 360"/>
              <a:gd name="T29" fmla="*/ 13 h 343"/>
              <a:gd name="T30" fmla="*/ 256 w 360"/>
              <a:gd name="T31" fmla="*/ 28 h 343"/>
              <a:gd name="T32" fmla="*/ 258 w 360"/>
              <a:gd name="T33" fmla="*/ 88 h 343"/>
              <a:gd name="T34" fmla="*/ 268 w 360"/>
              <a:gd name="T35" fmla="*/ 111 h 343"/>
              <a:gd name="T36" fmla="*/ 289 w 360"/>
              <a:gd name="T37" fmla="*/ 142 h 343"/>
              <a:gd name="T38" fmla="*/ 332 w 360"/>
              <a:gd name="T39" fmla="*/ 160 h 343"/>
              <a:gd name="T40" fmla="*/ 359 w 360"/>
              <a:gd name="T41" fmla="*/ 162 h 343"/>
              <a:gd name="T42" fmla="*/ 341 w 360"/>
              <a:gd name="T43" fmla="*/ 185 h 343"/>
              <a:gd name="T44" fmla="*/ 311 w 360"/>
              <a:gd name="T45" fmla="*/ 227 h 343"/>
              <a:gd name="T46" fmla="*/ 232 w 360"/>
              <a:gd name="T47" fmla="*/ 308 h 343"/>
              <a:gd name="T48" fmla="*/ 215 w 360"/>
              <a:gd name="T49" fmla="*/ 319 h 343"/>
              <a:gd name="T50" fmla="*/ 156 w 360"/>
              <a:gd name="T51" fmla="*/ 337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0" h="343">
                <a:moveTo>
                  <a:pt x="156" y="337"/>
                </a:moveTo>
                <a:cubicBezTo>
                  <a:pt x="147" y="334"/>
                  <a:pt x="136" y="322"/>
                  <a:pt x="130" y="307"/>
                </a:cubicBezTo>
                <a:cubicBezTo>
                  <a:pt x="127" y="300"/>
                  <a:pt x="121" y="294"/>
                  <a:pt x="116" y="293"/>
                </a:cubicBezTo>
                <a:cubicBezTo>
                  <a:pt x="100" y="289"/>
                  <a:pt x="74" y="222"/>
                  <a:pt x="74" y="184"/>
                </a:cubicBezTo>
                <a:cubicBezTo>
                  <a:pt x="74" y="170"/>
                  <a:pt x="72" y="163"/>
                  <a:pt x="65" y="157"/>
                </a:cubicBezTo>
                <a:cubicBezTo>
                  <a:pt x="49" y="142"/>
                  <a:pt x="29" y="132"/>
                  <a:pt x="15" y="132"/>
                </a:cubicBezTo>
                <a:cubicBezTo>
                  <a:pt x="3" y="132"/>
                  <a:pt x="3" y="132"/>
                  <a:pt x="3" y="132"/>
                </a:cubicBezTo>
                <a:cubicBezTo>
                  <a:pt x="1" y="107"/>
                  <a:pt x="1" y="107"/>
                  <a:pt x="1" y="107"/>
                </a:cubicBezTo>
                <a:cubicBezTo>
                  <a:pt x="0" y="93"/>
                  <a:pt x="0" y="80"/>
                  <a:pt x="1" y="79"/>
                </a:cubicBezTo>
                <a:cubicBezTo>
                  <a:pt x="2" y="77"/>
                  <a:pt x="14" y="75"/>
                  <a:pt x="27" y="75"/>
                </a:cubicBezTo>
                <a:cubicBezTo>
                  <a:pt x="57" y="75"/>
                  <a:pt x="73" y="69"/>
                  <a:pt x="90" y="55"/>
                </a:cubicBezTo>
                <a:cubicBezTo>
                  <a:pt x="97" y="48"/>
                  <a:pt x="114" y="40"/>
                  <a:pt x="132" y="35"/>
                </a:cubicBezTo>
                <a:cubicBezTo>
                  <a:pt x="159" y="28"/>
                  <a:pt x="163" y="28"/>
                  <a:pt x="177" y="33"/>
                </a:cubicBezTo>
                <a:cubicBezTo>
                  <a:pt x="191" y="39"/>
                  <a:pt x="192" y="39"/>
                  <a:pt x="199" y="31"/>
                </a:cubicBezTo>
                <a:cubicBezTo>
                  <a:pt x="216" y="14"/>
                  <a:pt x="262" y="0"/>
                  <a:pt x="262" y="13"/>
                </a:cubicBezTo>
                <a:cubicBezTo>
                  <a:pt x="262" y="15"/>
                  <a:pt x="259" y="22"/>
                  <a:pt x="256" y="28"/>
                </a:cubicBezTo>
                <a:cubicBezTo>
                  <a:pt x="248" y="42"/>
                  <a:pt x="248" y="76"/>
                  <a:pt x="258" y="88"/>
                </a:cubicBezTo>
                <a:cubicBezTo>
                  <a:pt x="262" y="93"/>
                  <a:pt x="266" y="103"/>
                  <a:pt x="268" y="111"/>
                </a:cubicBezTo>
                <a:cubicBezTo>
                  <a:pt x="270" y="119"/>
                  <a:pt x="278" y="131"/>
                  <a:pt x="289" y="142"/>
                </a:cubicBezTo>
                <a:cubicBezTo>
                  <a:pt x="307" y="159"/>
                  <a:pt x="309" y="160"/>
                  <a:pt x="332" y="160"/>
                </a:cubicBezTo>
                <a:cubicBezTo>
                  <a:pt x="346" y="160"/>
                  <a:pt x="358" y="161"/>
                  <a:pt x="359" y="162"/>
                </a:cubicBezTo>
                <a:cubicBezTo>
                  <a:pt x="360" y="163"/>
                  <a:pt x="352" y="173"/>
                  <a:pt x="341" y="185"/>
                </a:cubicBezTo>
                <a:cubicBezTo>
                  <a:pt x="330" y="196"/>
                  <a:pt x="317" y="215"/>
                  <a:pt x="311" y="227"/>
                </a:cubicBezTo>
                <a:cubicBezTo>
                  <a:pt x="297" y="257"/>
                  <a:pt x="247" y="308"/>
                  <a:pt x="232" y="308"/>
                </a:cubicBezTo>
                <a:cubicBezTo>
                  <a:pt x="223" y="308"/>
                  <a:pt x="219" y="310"/>
                  <a:pt x="215" y="319"/>
                </a:cubicBezTo>
                <a:cubicBezTo>
                  <a:pt x="208" y="335"/>
                  <a:pt x="182" y="343"/>
                  <a:pt x="156" y="337"/>
                </a:cubicBezTo>
                <a:close/>
              </a:path>
            </a:pathLst>
          </a:custGeom>
          <a:solidFill>
            <a:srgbClr val="D3D3D3"/>
          </a:solidFill>
          <a:ln w="22225" cap="flat">
            <a:solidFill>
              <a:srgbClr val="D3D3D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40" name="Freeform 15"/>
          <p:cNvSpPr>
            <a:spLocks/>
          </p:cNvSpPr>
          <p:nvPr userDrawn="1"/>
        </p:nvSpPr>
        <p:spPr bwMode="grayWhite">
          <a:xfrm>
            <a:off x="6990720" y="328503"/>
            <a:ext cx="668339" cy="698500"/>
          </a:xfrm>
          <a:custGeom>
            <a:avLst/>
            <a:gdLst>
              <a:gd name="T0" fmla="*/ 11 w 464"/>
              <a:gd name="T1" fmla="*/ 477 h 487"/>
              <a:gd name="T2" fmla="*/ 11 w 464"/>
              <a:gd name="T3" fmla="*/ 430 h 487"/>
              <a:gd name="T4" fmla="*/ 14 w 464"/>
              <a:gd name="T5" fmla="*/ 390 h 487"/>
              <a:gd name="T6" fmla="*/ 15 w 464"/>
              <a:gd name="T7" fmla="*/ 361 h 487"/>
              <a:gd name="T8" fmla="*/ 21 w 464"/>
              <a:gd name="T9" fmla="*/ 312 h 487"/>
              <a:gd name="T10" fmla="*/ 24 w 464"/>
              <a:gd name="T11" fmla="*/ 126 h 487"/>
              <a:gd name="T12" fmla="*/ 28 w 464"/>
              <a:gd name="T13" fmla="*/ 86 h 487"/>
              <a:gd name="T14" fmla="*/ 68 w 464"/>
              <a:gd name="T15" fmla="*/ 13 h 487"/>
              <a:gd name="T16" fmla="*/ 93 w 464"/>
              <a:gd name="T17" fmla="*/ 4 h 487"/>
              <a:gd name="T18" fmla="*/ 109 w 464"/>
              <a:gd name="T19" fmla="*/ 79 h 487"/>
              <a:gd name="T20" fmla="*/ 105 w 464"/>
              <a:gd name="T21" fmla="*/ 130 h 487"/>
              <a:gd name="T22" fmla="*/ 100 w 464"/>
              <a:gd name="T23" fmla="*/ 158 h 487"/>
              <a:gd name="T24" fmla="*/ 98 w 464"/>
              <a:gd name="T25" fmla="*/ 182 h 487"/>
              <a:gd name="T26" fmla="*/ 108 w 464"/>
              <a:gd name="T27" fmla="*/ 170 h 487"/>
              <a:gd name="T28" fmla="*/ 118 w 464"/>
              <a:gd name="T29" fmla="*/ 155 h 487"/>
              <a:gd name="T30" fmla="*/ 148 w 464"/>
              <a:gd name="T31" fmla="*/ 152 h 487"/>
              <a:gd name="T32" fmla="*/ 162 w 464"/>
              <a:gd name="T33" fmla="*/ 179 h 487"/>
              <a:gd name="T34" fmla="*/ 162 w 464"/>
              <a:gd name="T35" fmla="*/ 192 h 487"/>
              <a:gd name="T36" fmla="*/ 182 w 464"/>
              <a:gd name="T37" fmla="*/ 192 h 487"/>
              <a:gd name="T38" fmla="*/ 204 w 464"/>
              <a:gd name="T39" fmla="*/ 188 h 487"/>
              <a:gd name="T40" fmla="*/ 225 w 464"/>
              <a:gd name="T41" fmla="*/ 179 h 487"/>
              <a:gd name="T42" fmla="*/ 264 w 464"/>
              <a:gd name="T43" fmla="*/ 165 h 487"/>
              <a:gd name="T44" fmla="*/ 319 w 464"/>
              <a:gd name="T45" fmla="*/ 164 h 487"/>
              <a:gd name="T46" fmla="*/ 325 w 464"/>
              <a:gd name="T47" fmla="*/ 200 h 487"/>
              <a:gd name="T48" fmla="*/ 328 w 464"/>
              <a:gd name="T49" fmla="*/ 215 h 487"/>
              <a:gd name="T50" fmla="*/ 356 w 464"/>
              <a:gd name="T51" fmla="*/ 220 h 487"/>
              <a:gd name="T52" fmla="*/ 386 w 464"/>
              <a:gd name="T53" fmla="*/ 231 h 487"/>
              <a:gd name="T54" fmla="*/ 365 w 464"/>
              <a:gd name="T55" fmla="*/ 269 h 487"/>
              <a:gd name="T56" fmla="*/ 362 w 464"/>
              <a:gd name="T57" fmla="*/ 276 h 487"/>
              <a:gd name="T58" fmla="*/ 366 w 464"/>
              <a:gd name="T59" fmla="*/ 289 h 487"/>
              <a:gd name="T60" fmla="*/ 369 w 464"/>
              <a:gd name="T61" fmla="*/ 309 h 487"/>
              <a:gd name="T62" fmla="*/ 378 w 464"/>
              <a:gd name="T63" fmla="*/ 311 h 487"/>
              <a:gd name="T64" fmla="*/ 404 w 464"/>
              <a:gd name="T65" fmla="*/ 280 h 487"/>
              <a:gd name="T66" fmla="*/ 415 w 464"/>
              <a:gd name="T67" fmla="*/ 296 h 487"/>
              <a:gd name="T68" fmla="*/ 442 w 464"/>
              <a:gd name="T69" fmla="*/ 303 h 487"/>
              <a:gd name="T70" fmla="*/ 457 w 464"/>
              <a:gd name="T71" fmla="*/ 297 h 487"/>
              <a:gd name="T72" fmla="*/ 461 w 464"/>
              <a:gd name="T73" fmla="*/ 327 h 487"/>
              <a:gd name="T74" fmla="*/ 463 w 464"/>
              <a:gd name="T75" fmla="*/ 368 h 487"/>
              <a:gd name="T76" fmla="*/ 431 w 464"/>
              <a:gd name="T77" fmla="*/ 415 h 487"/>
              <a:gd name="T78" fmla="*/ 413 w 464"/>
              <a:gd name="T79" fmla="*/ 406 h 487"/>
              <a:gd name="T80" fmla="*/ 398 w 464"/>
              <a:gd name="T81" fmla="*/ 406 h 487"/>
              <a:gd name="T82" fmla="*/ 374 w 464"/>
              <a:gd name="T83" fmla="*/ 371 h 487"/>
              <a:gd name="T84" fmla="*/ 358 w 464"/>
              <a:gd name="T85" fmla="*/ 328 h 487"/>
              <a:gd name="T86" fmla="*/ 354 w 464"/>
              <a:gd name="T87" fmla="*/ 342 h 487"/>
              <a:gd name="T88" fmla="*/ 338 w 464"/>
              <a:gd name="T89" fmla="*/ 372 h 487"/>
              <a:gd name="T90" fmla="*/ 319 w 464"/>
              <a:gd name="T91" fmla="*/ 416 h 487"/>
              <a:gd name="T92" fmla="*/ 272 w 464"/>
              <a:gd name="T93" fmla="*/ 466 h 487"/>
              <a:gd name="T94" fmla="*/ 264 w 464"/>
              <a:gd name="T95" fmla="*/ 440 h 487"/>
              <a:gd name="T96" fmla="*/ 278 w 464"/>
              <a:gd name="T97" fmla="*/ 411 h 487"/>
              <a:gd name="T98" fmla="*/ 270 w 464"/>
              <a:gd name="T99" fmla="*/ 400 h 487"/>
              <a:gd name="T100" fmla="*/ 232 w 464"/>
              <a:gd name="T101" fmla="*/ 408 h 487"/>
              <a:gd name="T102" fmla="*/ 180 w 464"/>
              <a:gd name="T103" fmla="*/ 431 h 487"/>
              <a:gd name="T104" fmla="*/ 147 w 464"/>
              <a:gd name="T105" fmla="*/ 446 h 487"/>
              <a:gd name="T106" fmla="*/ 122 w 464"/>
              <a:gd name="T107" fmla="*/ 450 h 487"/>
              <a:gd name="T108" fmla="*/ 68 w 464"/>
              <a:gd name="T109" fmla="*/ 468 h 487"/>
              <a:gd name="T110" fmla="*/ 24 w 464"/>
              <a:gd name="T111" fmla="*/ 486 h 487"/>
              <a:gd name="T112" fmla="*/ 11 w 464"/>
              <a:gd name="T113" fmla="*/ 477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4" h="487">
                <a:moveTo>
                  <a:pt x="11" y="477"/>
                </a:moveTo>
                <a:cubicBezTo>
                  <a:pt x="0" y="463"/>
                  <a:pt x="0" y="446"/>
                  <a:pt x="11" y="430"/>
                </a:cubicBezTo>
                <a:cubicBezTo>
                  <a:pt x="24" y="413"/>
                  <a:pt x="25" y="393"/>
                  <a:pt x="14" y="390"/>
                </a:cubicBezTo>
                <a:cubicBezTo>
                  <a:pt x="4" y="386"/>
                  <a:pt x="4" y="378"/>
                  <a:pt x="15" y="361"/>
                </a:cubicBezTo>
                <a:cubicBezTo>
                  <a:pt x="22" y="348"/>
                  <a:pt x="23" y="343"/>
                  <a:pt x="21" y="312"/>
                </a:cubicBezTo>
                <a:cubicBezTo>
                  <a:pt x="16" y="256"/>
                  <a:pt x="18" y="191"/>
                  <a:pt x="24" y="126"/>
                </a:cubicBezTo>
                <a:cubicBezTo>
                  <a:pt x="25" y="121"/>
                  <a:pt x="26" y="103"/>
                  <a:pt x="28" y="86"/>
                </a:cubicBezTo>
                <a:cubicBezTo>
                  <a:pt x="32" y="49"/>
                  <a:pt x="39" y="35"/>
                  <a:pt x="68" y="13"/>
                </a:cubicBezTo>
                <a:cubicBezTo>
                  <a:pt x="83" y="1"/>
                  <a:pt x="88" y="0"/>
                  <a:pt x="93" y="4"/>
                </a:cubicBezTo>
                <a:cubicBezTo>
                  <a:pt x="108" y="16"/>
                  <a:pt x="111" y="31"/>
                  <a:pt x="109" y="79"/>
                </a:cubicBezTo>
                <a:cubicBezTo>
                  <a:pt x="108" y="105"/>
                  <a:pt x="106" y="128"/>
                  <a:pt x="105" y="130"/>
                </a:cubicBezTo>
                <a:cubicBezTo>
                  <a:pt x="104" y="132"/>
                  <a:pt x="102" y="145"/>
                  <a:pt x="100" y="158"/>
                </a:cubicBezTo>
                <a:cubicBezTo>
                  <a:pt x="98" y="182"/>
                  <a:pt x="98" y="182"/>
                  <a:pt x="98" y="182"/>
                </a:cubicBezTo>
                <a:cubicBezTo>
                  <a:pt x="108" y="170"/>
                  <a:pt x="108" y="170"/>
                  <a:pt x="108" y="170"/>
                </a:cubicBezTo>
                <a:cubicBezTo>
                  <a:pt x="113" y="163"/>
                  <a:pt x="118" y="156"/>
                  <a:pt x="118" y="155"/>
                </a:cubicBezTo>
                <a:cubicBezTo>
                  <a:pt x="118" y="149"/>
                  <a:pt x="135" y="147"/>
                  <a:pt x="148" y="152"/>
                </a:cubicBezTo>
                <a:cubicBezTo>
                  <a:pt x="163" y="157"/>
                  <a:pt x="163" y="158"/>
                  <a:pt x="162" y="179"/>
                </a:cubicBezTo>
                <a:cubicBezTo>
                  <a:pt x="162" y="192"/>
                  <a:pt x="162" y="192"/>
                  <a:pt x="162" y="192"/>
                </a:cubicBezTo>
                <a:cubicBezTo>
                  <a:pt x="182" y="192"/>
                  <a:pt x="182" y="192"/>
                  <a:pt x="182" y="192"/>
                </a:cubicBezTo>
                <a:cubicBezTo>
                  <a:pt x="193" y="192"/>
                  <a:pt x="203" y="190"/>
                  <a:pt x="204" y="188"/>
                </a:cubicBezTo>
                <a:cubicBezTo>
                  <a:pt x="205" y="186"/>
                  <a:pt x="215" y="182"/>
                  <a:pt x="225" y="179"/>
                </a:cubicBezTo>
                <a:cubicBezTo>
                  <a:pt x="236" y="176"/>
                  <a:pt x="253" y="170"/>
                  <a:pt x="264" y="165"/>
                </a:cubicBezTo>
                <a:cubicBezTo>
                  <a:pt x="284" y="156"/>
                  <a:pt x="302" y="155"/>
                  <a:pt x="319" y="164"/>
                </a:cubicBezTo>
                <a:cubicBezTo>
                  <a:pt x="327" y="168"/>
                  <a:pt x="331" y="190"/>
                  <a:pt x="325" y="200"/>
                </a:cubicBezTo>
                <a:cubicBezTo>
                  <a:pt x="321" y="206"/>
                  <a:pt x="322" y="209"/>
                  <a:pt x="328" y="215"/>
                </a:cubicBezTo>
                <a:cubicBezTo>
                  <a:pt x="335" y="222"/>
                  <a:pt x="339" y="223"/>
                  <a:pt x="356" y="220"/>
                </a:cubicBezTo>
                <a:cubicBezTo>
                  <a:pt x="382" y="216"/>
                  <a:pt x="386" y="218"/>
                  <a:pt x="386" y="231"/>
                </a:cubicBezTo>
                <a:cubicBezTo>
                  <a:pt x="386" y="242"/>
                  <a:pt x="378" y="257"/>
                  <a:pt x="365" y="269"/>
                </a:cubicBezTo>
                <a:cubicBezTo>
                  <a:pt x="360" y="272"/>
                  <a:pt x="359" y="276"/>
                  <a:pt x="362" y="276"/>
                </a:cubicBezTo>
                <a:cubicBezTo>
                  <a:pt x="364" y="276"/>
                  <a:pt x="366" y="282"/>
                  <a:pt x="366" y="289"/>
                </a:cubicBezTo>
                <a:cubicBezTo>
                  <a:pt x="366" y="297"/>
                  <a:pt x="367" y="306"/>
                  <a:pt x="369" y="309"/>
                </a:cubicBezTo>
                <a:cubicBezTo>
                  <a:pt x="371" y="317"/>
                  <a:pt x="378" y="318"/>
                  <a:pt x="378" y="311"/>
                </a:cubicBezTo>
                <a:cubicBezTo>
                  <a:pt x="378" y="304"/>
                  <a:pt x="398" y="280"/>
                  <a:pt x="404" y="280"/>
                </a:cubicBezTo>
                <a:cubicBezTo>
                  <a:pt x="407" y="280"/>
                  <a:pt x="412" y="287"/>
                  <a:pt x="415" y="296"/>
                </a:cubicBezTo>
                <a:cubicBezTo>
                  <a:pt x="420" y="314"/>
                  <a:pt x="426" y="315"/>
                  <a:pt x="442" y="303"/>
                </a:cubicBezTo>
                <a:cubicBezTo>
                  <a:pt x="449" y="298"/>
                  <a:pt x="455" y="296"/>
                  <a:pt x="457" y="297"/>
                </a:cubicBezTo>
                <a:cubicBezTo>
                  <a:pt x="459" y="299"/>
                  <a:pt x="461" y="312"/>
                  <a:pt x="461" y="327"/>
                </a:cubicBezTo>
                <a:cubicBezTo>
                  <a:pt x="462" y="342"/>
                  <a:pt x="462" y="360"/>
                  <a:pt x="463" y="368"/>
                </a:cubicBezTo>
                <a:cubicBezTo>
                  <a:pt x="464" y="390"/>
                  <a:pt x="447" y="413"/>
                  <a:pt x="431" y="415"/>
                </a:cubicBezTo>
                <a:cubicBezTo>
                  <a:pt x="421" y="415"/>
                  <a:pt x="417" y="414"/>
                  <a:pt x="413" y="406"/>
                </a:cubicBezTo>
                <a:cubicBezTo>
                  <a:pt x="408" y="393"/>
                  <a:pt x="405" y="393"/>
                  <a:pt x="398" y="406"/>
                </a:cubicBezTo>
                <a:cubicBezTo>
                  <a:pt x="387" y="426"/>
                  <a:pt x="378" y="413"/>
                  <a:pt x="374" y="371"/>
                </a:cubicBezTo>
                <a:cubicBezTo>
                  <a:pt x="370" y="340"/>
                  <a:pt x="366" y="328"/>
                  <a:pt x="358" y="328"/>
                </a:cubicBezTo>
                <a:cubicBezTo>
                  <a:pt x="356" y="328"/>
                  <a:pt x="354" y="334"/>
                  <a:pt x="354" y="342"/>
                </a:cubicBezTo>
                <a:cubicBezTo>
                  <a:pt x="354" y="354"/>
                  <a:pt x="351" y="360"/>
                  <a:pt x="338" y="372"/>
                </a:cubicBezTo>
                <a:cubicBezTo>
                  <a:pt x="324" y="385"/>
                  <a:pt x="322" y="389"/>
                  <a:pt x="319" y="416"/>
                </a:cubicBezTo>
                <a:cubicBezTo>
                  <a:pt x="313" y="455"/>
                  <a:pt x="304" y="465"/>
                  <a:pt x="272" y="466"/>
                </a:cubicBezTo>
                <a:cubicBezTo>
                  <a:pt x="245" y="466"/>
                  <a:pt x="243" y="460"/>
                  <a:pt x="264" y="440"/>
                </a:cubicBezTo>
                <a:cubicBezTo>
                  <a:pt x="276" y="429"/>
                  <a:pt x="278" y="424"/>
                  <a:pt x="278" y="411"/>
                </a:cubicBezTo>
                <a:cubicBezTo>
                  <a:pt x="278" y="396"/>
                  <a:pt x="278" y="396"/>
                  <a:pt x="270" y="400"/>
                </a:cubicBezTo>
                <a:cubicBezTo>
                  <a:pt x="254" y="408"/>
                  <a:pt x="237" y="412"/>
                  <a:pt x="232" y="408"/>
                </a:cubicBezTo>
                <a:cubicBezTo>
                  <a:pt x="227" y="404"/>
                  <a:pt x="221" y="407"/>
                  <a:pt x="180" y="431"/>
                </a:cubicBezTo>
                <a:cubicBezTo>
                  <a:pt x="168" y="438"/>
                  <a:pt x="153" y="445"/>
                  <a:pt x="147" y="446"/>
                </a:cubicBezTo>
                <a:cubicBezTo>
                  <a:pt x="141" y="447"/>
                  <a:pt x="130" y="449"/>
                  <a:pt x="122" y="450"/>
                </a:cubicBezTo>
                <a:cubicBezTo>
                  <a:pt x="115" y="451"/>
                  <a:pt x="91" y="459"/>
                  <a:pt x="68" y="468"/>
                </a:cubicBezTo>
                <a:cubicBezTo>
                  <a:pt x="46" y="477"/>
                  <a:pt x="26" y="485"/>
                  <a:pt x="24" y="486"/>
                </a:cubicBezTo>
                <a:cubicBezTo>
                  <a:pt x="21" y="487"/>
                  <a:pt x="15" y="483"/>
                  <a:pt x="11" y="477"/>
                </a:cubicBezTo>
                <a:close/>
              </a:path>
            </a:pathLst>
          </a:custGeom>
          <a:solidFill>
            <a:srgbClr val="D3D3D3"/>
          </a:solidFill>
          <a:ln w="22225" cap="flat">
            <a:solidFill>
              <a:srgbClr val="D3D3D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41" name="Freeform 16"/>
          <p:cNvSpPr>
            <a:spLocks/>
          </p:cNvSpPr>
          <p:nvPr userDrawn="1"/>
        </p:nvSpPr>
        <p:spPr bwMode="grayWhite">
          <a:xfrm>
            <a:off x="5922333" y="-682736"/>
            <a:ext cx="1181100" cy="1284288"/>
          </a:xfrm>
          <a:custGeom>
            <a:avLst/>
            <a:gdLst>
              <a:gd name="T0" fmla="*/ 240 w 821"/>
              <a:gd name="T1" fmla="*/ 890 h 895"/>
              <a:gd name="T2" fmla="*/ 186 w 821"/>
              <a:gd name="T3" fmla="*/ 876 h 895"/>
              <a:gd name="T4" fmla="*/ 145 w 821"/>
              <a:gd name="T5" fmla="*/ 829 h 895"/>
              <a:gd name="T6" fmla="*/ 120 w 821"/>
              <a:gd name="T7" fmla="*/ 820 h 895"/>
              <a:gd name="T8" fmla="*/ 81 w 821"/>
              <a:gd name="T9" fmla="*/ 810 h 895"/>
              <a:gd name="T10" fmla="*/ 64 w 821"/>
              <a:gd name="T11" fmla="*/ 754 h 895"/>
              <a:gd name="T12" fmla="*/ 21 w 821"/>
              <a:gd name="T13" fmla="*/ 668 h 895"/>
              <a:gd name="T14" fmla="*/ 44 w 821"/>
              <a:gd name="T15" fmla="*/ 624 h 895"/>
              <a:gd name="T16" fmla="*/ 78 w 821"/>
              <a:gd name="T17" fmla="*/ 600 h 895"/>
              <a:gd name="T18" fmla="*/ 143 w 821"/>
              <a:gd name="T19" fmla="*/ 603 h 895"/>
              <a:gd name="T20" fmla="*/ 198 w 821"/>
              <a:gd name="T21" fmla="*/ 596 h 895"/>
              <a:gd name="T22" fmla="*/ 201 w 821"/>
              <a:gd name="T23" fmla="*/ 625 h 895"/>
              <a:gd name="T24" fmla="*/ 153 w 821"/>
              <a:gd name="T25" fmla="*/ 670 h 895"/>
              <a:gd name="T26" fmla="*/ 190 w 821"/>
              <a:gd name="T27" fmla="*/ 688 h 895"/>
              <a:gd name="T28" fmla="*/ 276 w 821"/>
              <a:gd name="T29" fmla="*/ 653 h 895"/>
              <a:gd name="T30" fmla="*/ 266 w 821"/>
              <a:gd name="T31" fmla="*/ 615 h 895"/>
              <a:gd name="T32" fmla="*/ 229 w 821"/>
              <a:gd name="T33" fmla="*/ 581 h 895"/>
              <a:gd name="T34" fmla="*/ 220 w 821"/>
              <a:gd name="T35" fmla="*/ 500 h 895"/>
              <a:gd name="T36" fmla="*/ 180 w 821"/>
              <a:gd name="T37" fmla="*/ 431 h 895"/>
              <a:gd name="T38" fmla="*/ 157 w 821"/>
              <a:gd name="T39" fmla="*/ 360 h 895"/>
              <a:gd name="T40" fmla="*/ 129 w 821"/>
              <a:gd name="T41" fmla="*/ 258 h 895"/>
              <a:gd name="T42" fmla="*/ 99 w 821"/>
              <a:gd name="T43" fmla="*/ 213 h 895"/>
              <a:gd name="T44" fmla="*/ 103 w 821"/>
              <a:gd name="T45" fmla="*/ 160 h 895"/>
              <a:gd name="T46" fmla="*/ 54 w 821"/>
              <a:gd name="T47" fmla="*/ 146 h 895"/>
              <a:gd name="T48" fmla="*/ 35 w 821"/>
              <a:gd name="T49" fmla="*/ 84 h 895"/>
              <a:gd name="T50" fmla="*/ 3 w 821"/>
              <a:gd name="T51" fmla="*/ 5 h 895"/>
              <a:gd name="T52" fmla="*/ 94 w 821"/>
              <a:gd name="T53" fmla="*/ 88 h 895"/>
              <a:gd name="T54" fmla="*/ 131 w 821"/>
              <a:gd name="T55" fmla="*/ 119 h 895"/>
              <a:gd name="T56" fmla="*/ 168 w 821"/>
              <a:gd name="T57" fmla="*/ 168 h 895"/>
              <a:gd name="T58" fmla="*/ 209 w 821"/>
              <a:gd name="T59" fmla="*/ 197 h 895"/>
              <a:gd name="T60" fmla="*/ 245 w 821"/>
              <a:gd name="T61" fmla="*/ 249 h 895"/>
              <a:gd name="T62" fmla="*/ 291 w 821"/>
              <a:gd name="T63" fmla="*/ 283 h 895"/>
              <a:gd name="T64" fmla="*/ 291 w 821"/>
              <a:gd name="T65" fmla="*/ 340 h 895"/>
              <a:gd name="T66" fmla="*/ 344 w 821"/>
              <a:gd name="T67" fmla="*/ 385 h 895"/>
              <a:gd name="T68" fmla="*/ 417 w 821"/>
              <a:gd name="T69" fmla="*/ 416 h 895"/>
              <a:gd name="T70" fmla="*/ 468 w 821"/>
              <a:gd name="T71" fmla="*/ 434 h 895"/>
              <a:gd name="T72" fmla="*/ 556 w 821"/>
              <a:gd name="T73" fmla="*/ 433 h 895"/>
              <a:gd name="T74" fmla="*/ 622 w 821"/>
              <a:gd name="T75" fmla="*/ 448 h 895"/>
              <a:gd name="T76" fmla="*/ 576 w 821"/>
              <a:gd name="T77" fmla="*/ 504 h 895"/>
              <a:gd name="T78" fmla="*/ 512 w 821"/>
              <a:gd name="T79" fmla="*/ 574 h 895"/>
              <a:gd name="T80" fmla="*/ 547 w 821"/>
              <a:gd name="T81" fmla="*/ 567 h 895"/>
              <a:gd name="T82" fmla="*/ 626 w 821"/>
              <a:gd name="T83" fmla="*/ 488 h 895"/>
              <a:gd name="T84" fmla="*/ 669 w 821"/>
              <a:gd name="T85" fmla="*/ 511 h 895"/>
              <a:gd name="T86" fmla="*/ 751 w 821"/>
              <a:gd name="T87" fmla="*/ 536 h 895"/>
              <a:gd name="T88" fmla="*/ 773 w 821"/>
              <a:gd name="T89" fmla="*/ 561 h 895"/>
              <a:gd name="T90" fmla="*/ 821 w 821"/>
              <a:gd name="T91" fmla="*/ 668 h 895"/>
              <a:gd name="T92" fmla="*/ 768 w 821"/>
              <a:gd name="T93" fmla="*/ 743 h 895"/>
              <a:gd name="T94" fmla="*/ 731 w 821"/>
              <a:gd name="T95" fmla="*/ 699 h 895"/>
              <a:gd name="T96" fmla="*/ 678 w 821"/>
              <a:gd name="T97" fmla="*/ 715 h 895"/>
              <a:gd name="T98" fmla="*/ 555 w 821"/>
              <a:gd name="T99" fmla="*/ 759 h 895"/>
              <a:gd name="T100" fmla="*/ 355 w 821"/>
              <a:gd name="T101" fmla="*/ 831 h 895"/>
              <a:gd name="T102" fmla="*/ 290 w 821"/>
              <a:gd name="T103" fmla="*/ 815 h 895"/>
              <a:gd name="T104" fmla="*/ 279 w 821"/>
              <a:gd name="T105" fmla="*/ 891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21" h="895">
                <a:moveTo>
                  <a:pt x="256" y="894"/>
                </a:moveTo>
                <a:cubicBezTo>
                  <a:pt x="256" y="893"/>
                  <a:pt x="248" y="891"/>
                  <a:pt x="240" y="890"/>
                </a:cubicBezTo>
                <a:cubicBezTo>
                  <a:pt x="232" y="889"/>
                  <a:pt x="221" y="885"/>
                  <a:pt x="217" y="881"/>
                </a:cubicBezTo>
                <a:cubicBezTo>
                  <a:pt x="211" y="876"/>
                  <a:pt x="204" y="875"/>
                  <a:pt x="186" y="876"/>
                </a:cubicBezTo>
                <a:cubicBezTo>
                  <a:pt x="157" y="879"/>
                  <a:pt x="154" y="878"/>
                  <a:pt x="151" y="862"/>
                </a:cubicBezTo>
                <a:cubicBezTo>
                  <a:pt x="146" y="837"/>
                  <a:pt x="146" y="833"/>
                  <a:pt x="145" y="829"/>
                </a:cubicBezTo>
                <a:cubicBezTo>
                  <a:pt x="145" y="826"/>
                  <a:pt x="142" y="821"/>
                  <a:pt x="139" y="818"/>
                </a:cubicBezTo>
                <a:cubicBezTo>
                  <a:pt x="133" y="812"/>
                  <a:pt x="132" y="813"/>
                  <a:pt x="120" y="820"/>
                </a:cubicBezTo>
                <a:cubicBezTo>
                  <a:pt x="113" y="824"/>
                  <a:pt x="103" y="828"/>
                  <a:pt x="99" y="828"/>
                </a:cubicBezTo>
                <a:cubicBezTo>
                  <a:pt x="89" y="828"/>
                  <a:pt x="75" y="814"/>
                  <a:pt x="81" y="810"/>
                </a:cubicBezTo>
                <a:cubicBezTo>
                  <a:pt x="85" y="807"/>
                  <a:pt x="87" y="783"/>
                  <a:pt x="83" y="769"/>
                </a:cubicBezTo>
                <a:cubicBezTo>
                  <a:pt x="81" y="764"/>
                  <a:pt x="74" y="758"/>
                  <a:pt x="64" y="754"/>
                </a:cubicBezTo>
                <a:cubicBezTo>
                  <a:pt x="34" y="742"/>
                  <a:pt x="3" y="694"/>
                  <a:pt x="13" y="675"/>
                </a:cubicBezTo>
                <a:cubicBezTo>
                  <a:pt x="16" y="671"/>
                  <a:pt x="19" y="668"/>
                  <a:pt x="21" y="668"/>
                </a:cubicBezTo>
                <a:cubicBezTo>
                  <a:pt x="25" y="668"/>
                  <a:pt x="32" y="652"/>
                  <a:pt x="35" y="639"/>
                </a:cubicBezTo>
                <a:cubicBezTo>
                  <a:pt x="35" y="634"/>
                  <a:pt x="40" y="628"/>
                  <a:pt x="44" y="624"/>
                </a:cubicBezTo>
                <a:cubicBezTo>
                  <a:pt x="49" y="620"/>
                  <a:pt x="55" y="613"/>
                  <a:pt x="57" y="607"/>
                </a:cubicBezTo>
                <a:cubicBezTo>
                  <a:pt x="60" y="597"/>
                  <a:pt x="61" y="596"/>
                  <a:pt x="78" y="600"/>
                </a:cubicBezTo>
                <a:cubicBezTo>
                  <a:pt x="87" y="602"/>
                  <a:pt x="100" y="607"/>
                  <a:pt x="105" y="611"/>
                </a:cubicBezTo>
                <a:cubicBezTo>
                  <a:pt x="119" y="620"/>
                  <a:pt x="134" y="618"/>
                  <a:pt x="143" y="603"/>
                </a:cubicBezTo>
                <a:cubicBezTo>
                  <a:pt x="151" y="592"/>
                  <a:pt x="152" y="591"/>
                  <a:pt x="171" y="594"/>
                </a:cubicBezTo>
                <a:cubicBezTo>
                  <a:pt x="182" y="595"/>
                  <a:pt x="194" y="596"/>
                  <a:pt x="198" y="596"/>
                </a:cubicBezTo>
                <a:cubicBezTo>
                  <a:pt x="204" y="596"/>
                  <a:pt x="205" y="599"/>
                  <a:pt x="204" y="610"/>
                </a:cubicBezTo>
                <a:cubicBezTo>
                  <a:pt x="203" y="618"/>
                  <a:pt x="202" y="624"/>
                  <a:pt x="201" y="625"/>
                </a:cubicBezTo>
                <a:cubicBezTo>
                  <a:pt x="183" y="637"/>
                  <a:pt x="169" y="649"/>
                  <a:pt x="167" y="655"/>
                </a:cubicBezTo>
                <a:cubicBezTo>
                  <a:pt x="166" y="658"/>
                  <a:pt x="160" y="665"/>
                  <a:pt x="153" y="670"/>
                </a:cubicBezTo>
                <a:cubicBezTo>
                  <a:pt x="139" y="679"/>
                  <a:pt x="138" y="684"/>
                  <a:pt x="149" y="693"/>
                </a:cubicBezTo>
                <a:cubicBezTo>
                  <a:pt x="159" y="702"/>
                  <a:pt x="182" y="699"/>
                  <a:pt x="190" y="688"/>
                </a:cubicBezTo>
                <a:cubicBezTo>
                  <a:pt x="199" y="675"/>
                  <a:pt x="219" y="668"/>
                  <a:pt x="234" y="672"/>
                </a:cubicBezTo>
                <a:cubicBezTo>
                  <a:pt x="253" y="678"/>
                  <a:pt x="267" y="671"/>
                  <a:pt x="276" y="653"/>
                </a:cubicBezTo>
                <a:cubicBezTo>
                  <a:pt x="283" y="637"/>
                  <a:pt x="284" y="616"/>
                  <a:pt x="277" y="610"/>
                </a:cubicBezTo>
                <a:cubicBezTo>
                  <a:pt x="275" y="608"/>
                  <a:pt x="270" y="610"/>
                  <a:pt x="266" y="615"/>
                </a:cubicBezTo>
                <a:cubicBezTo>
                  <a:pt x="260" y="620"/>
                  <a:pt x="252" y="624"/>
                  <a:pt x="243" y="624"/>
                </a:cubicBezTo>
                <a:cubicBezTo>
                  <a:pt x="213" y="624"/>
                  <a:pt x="211" y="616"/>
                  <a:pt x="229" y="581"/>
                </a:cubicBezTo>
                <a:cubicBezTo>
                  <a:pt x="236" y="569"/>
                  <a:pt x="241" y="554"/>
                  <a:pt x="241" y="549"/>
                </a:cubicBezTo>
                <a:cubicBezTo>
                  <a:pt x="241" y="537"/>
                  <a:pt x="228" y="507"/>
                  <a:pt x="220" y="500"/>
                </a:cubicBezTo>
                <a:cubicBezTo>
                  <a:pt x="216" y="497"/>
                  <a:pt x="213" y="492"/>
                  <a:pt x="213" y="488"/>
                </a:cubicBezTo>
                <a:cubicBezTo>
                  <a:pt x="213" y="477"/>
                  <a:pt x="193" y="442"/>
                  <a:pt x="180" y="431"/>
                </a:cubicBezTo>
                <a:cubicBezTo>
                  <a:pt x="172" y="423"/>
                  <a:pt x="167" y="415"/>
                  <a:pt x="165" y="403"/>
                </a:cubicBezTo>
                <a:cubicBezTo>
                  <a:pt x="163" y="393"/>
                  <a:pt x="160" y="374"/>
                  <a:pt x="157" y="360"/>
                </a:cubicBezTo>
                <a:cubicBezTo>
                  <a:pt x="155" y="345"/>
                  <a:pt x="152" y="322"/>
                  <a:pt x="152" y="308"/>
                </a:cubicBezTo>
                <a:cubicBezTo>
                  <a:pt x="152" y="277"/>
                  <a:pt x="145" y="261"/>
                  <a:pt x="129" y="258"/>
                </a:cubicBezTo>
                <a:cubicBezTo>
                  <a:pt x="124" y="257"/>
                  <a:pt x="113" y="252"/>
                  <a:pt x="106" y="248"/>
                </a:cubicBezTo>
                <a:cubicBezTo>
                  <a:pt x="92" y="239"/>
                  <a:pt x="89" y="227"/>
                  <a:pt x="99" y="213"/>
                </a:cubicBezTo>
                <a:cubicBezTo>
                  <a:pt x="103" y="207"/>
                  <a:pt x="104" y="201"/>
                  <a:pt x="102" y="195"/>
                </a:cubicBezTo>
                <a:cubicBezTo>
                  <a:pt x="98" y="185"/>
                  <a:pt x="98" y="182"/>
                  <a:pt x="103" y="160"/>
                </a:cubicBezTo>
                <a:cubicBezTo>
                  <a:pt x="106" y="146"/>
                  <a:pt x="104" y="145"/>
                  <a:pt x="67" y="147"/>
                </a:cubicBezTo>
                <a:cubicBezTo>
                  <a:pt x="59" y="147"/>
                  <a:pt x="53" y="147"/>
                  <a:pt x="54" y="146"/>
                </a:cubicBezTo>
                <a:cubicBezTo>
                  <a:pt x="55" y="144"/>
                  <a:pt x="53" y="130"/>
                  <a:pt x="49" y="114"/>
                </a:cubicBezTo>
                <a:cubicBezTo>
                  <a:pt x="44" y="92"/>
                  <a:pt x="41" y="85"/>
                  <a:pt x="35" y="84"/>
                </a:cubicBezTo>
                <a:cubicBezTo>
                  <a:pt x="30" y="84"/>
                  <a:pt x="25" y="80"/>
                  <a:pt x="22" y="76"/>
                </a:cubicBezTo>
                <a:cubicBezTo>
                  <a:pt x="17" y="67"/>
                  <a:pt x="0" y="7"/>
                  <a:pt x="3" y="5"/>
                </a:cubicBezTo>
                <a:cubicBezTo>
                  <a:pt x="7" y="0"/>
                  <a:pt x="53" y="42"/>
                  <a:pt x="70" y="64"/>
                </a:cubicBezTo>
                <a:cubicBezTo>
                  <a:pt x="79" y="77"/>
                  <a:pt x="90" y="88"/>
                  <a:pt x="94" y="88"/>
                </a:cubicBezTo>
                <a:cubicBezTo>
                  <a:pt x="98" y="88"/>
                  <a:pt x="104" y="93"/>
                  <a:pt x="109" y="99"/>
                </a:cubicBezTo>
                <a:cubicBezTo>
                  <a:pt x="114" y="106"/>
                  <a:pt x="123" y="115"/>
                  <a:pt x="131" y="119"/>
                </a:cubicBezTo>
                <a:cubicBezTo>
                  <a:pt x="140" y="125"/>
                  <a:pt x="147" y="135"/>
                  <a:pt x="153" y="148"/>
                </a:cubicBezTo>
                <a:cubicBezTo>
                  <a:pt x="158" y="160"/>
                  <a:pt x="164" y="168"/>
                  <a:pt x="168" y="168"/>
                </a:cubicBezTo>
                <a:cubicBezTo>
                  <a:pt x="172" y="168"/>
                  <a:pt x="179" y="174"/>
                  <a:pt x="184" y="181"/>
                </a:cubicBezTo>
                <a:cubicBezTo>
                  <a:pt x="191" y="191"/>
                  <a:pt x="196" y="195"/>
                  <a:pt x="209" y="197"/>
                </a:cubicBezTo>
                <a:cubicBezTo>
                  <a:pt x="223" y="199"/>
                  <a:pt x="226" y="202"/>
                  <a:pt x="234" y="217"/>
                </a:cubicBezTo>
                <a:cubicBezTo>
                  <a:pt x="239" y="226"/>
                  <a:pt x="244" y="241"/>
                  <a:pt x="245" y="249"/>
                </a:cubicBezTo>
                <a:cubicBezTo>
                  <a:pt x="247" y="264"/>
                  <a:pt x="248" y="266"/>
                  <a:pt x="266" y="271"/>
                </a:cubicBezTo>
                <a:cubicBezTo>
                  <a:pt x="276" y="273"/>
                  <a:pt x="287" y="279"/>
                  <a:pt x="291" y="283"/>
                </a:cubicBezTo>
                <a:cubicBezTo>
                  <a:pt x="297" y="290"/>
                  <a:pt x="297" y="293"/>
                  <a:pt x="292" y="310"/>
                </a:cubicBezTo>
                <a:cubicBezTo>
                  <a:pt x="287" y="327"/>
                  <a:pt x="287" y="332"/>
                  <a:pt x="291" y="340"/>
                </a:cubicBezTo>
                <a:cubicBezTo>
                  <a:pt x="294" y="345"/>
                  <a:pt x="298" y="354"/>
                  <a:pt x="299" y="360"/>
                </a:cubicBezTo>
                <a:cubicBezTo>
                  <a:pt x="301" y="368"/>
                  <a:pt x="307" y="372"/>
                  <a:pt x="344" y="385"/>
                </a:cubicBezTo>
                <a:cubicBezTo>
                  <a:pt x="368" y="393"/>
                  <a:pt x="390" y="400"/>
                  <a:pt x="394" y="400"/>
                </a:cubicBezTo>
                <a:cubicBezTo>
                  <a:pt x="398" y="400"/>
                  <a:pt x="408" y="407"/>
                  <a:pt x="417" y="416"/>
                </a:cubicBezTo>
                <a:cubicBezTo>
                  <a:pt x="432" y="433"/>
                  <a:pt x="432" y="433"/>
                  <a:pt x="432" y="433"/>
                </a:cubicBezTo>
                <a:cubicBezTo>
                  <a:pt x="468" y="434"/>
                  <a:pt x="468" y="434"/>
                  <a:pt x="468" y="434"/>
                </a:cubicBezTo>
                <a:cubicBezTo>
                  <a:pt x="487" y="435"/>
                  <a:pt x="510" y="439"/>
                  <a:pt x="518" y="442"/>
                </a:cubicBezTo>
                <a:cubicBezTo>
                  <a:pt x="534" y="448"/>
                  <a:pt x="544" y="446"/>
                  <a:pt x="556" y="433"/>
                </a:cubicBezTo>
                <a:cubicBezTo>
                  <a:pt x="560" y="430"/>
                  <a:pt x="567" y="430"/>
                  <a:pt x="590" y="437"/>
                </a:cubicBezTo>
                <a:cubicBezTo>
                  <a:pt x="606" y="441"/>
                  <a:pt x="620" y="446"/>
                  <a:pt x="622" y="448"/>
                </a:cubicBezTo>
                <a:cubicBezTo>
                  <a:pt x="627" y="456"/>
                  <a:pt x="620" y="471"/>
                  <a:pt x="609" y="476"/>
                </a:cubicBezTo>
                <a:cubicBezTo>
                  <a:pt x="603" y="478"/>
                  <a:pt x="588" y="491"/>
                  <a:pt x="576" y="504"/>
                </a:cubicBezTo>
                <a:cubicBezTo>
                  <a:pt x="565" y="518"/>
                  <a:pt x="550" y="534"/>
                  <a:pt x="543" y="541"/>
                </a:cubicBezTo>
                <a:cubicBezTo>
                  <a:pt x="537" y="548"/>
                  <a:pt x="523" y="563"/>
                  <a:pt x="512" y="574"/>
                </a:cubicBezTo>
                <a:cubicBezTo>
                  <a:pt x="493" y="594"/>
                  <a:pt x="484" y="618"/>
                  <a:pt x="495" y="622"/>
                </a:cubicBezTo>
                <a:cubicBezTo>
                  <a:pt x="503" y="625"/>
                  <a:pt x="544" y="582"/>
                  <a:pt x="547" y="567"/>
                </a:cubicBezTo>
                <a:cubicBezTo>
                  <a:pt x="549" y="557"/>
                  <a:pt x="559" y="543"/>
                  <a:pt x="580" y="520"/>
                </a:cubicBezTo>
                <a:cubicBezTo>
                  <a:pt x="608" y="491"/>
                  <a:pt x="613" y="488"/>
                  <a:pt x="626" y="488"/>
                </a:cubicBezTo>
                <a:cubicBezTo>
                  <a:pt x="638" y="488"/>
                  <a:pt x="642" y="490"/>
                  <a:pt x="650" y="501"/>
                </a:cubicBezTo>
                <a:cubicBezTo>
                  <a:pt x="658" y="512"/>
                  <a:pt x="661" y="514"/>
                  <a:pt x="669" y="511"/>
                </a:cubicBezTo>
                <a:cubicBezTo>
                  <a:pt x="688" y="506"/>
                  <a:pt x="708" y="507"/>
                  <a:pt x="718" y="515"/>
                </a:cubicBezTo>
                <a:cubicBezTo>
                  <a:pt x="723" y="519"/>
                  <a:pt x="738" y="528"/>
                  <a:pt x="751" y="536"/>
                </a:cubicBezTo>
                <a:cubicBezTo>
                  <a:pt x="764" y="543"/>
                  <a:pt x="776" y="549"/>
                  <a:pt x="776" y="550"/>
                </a:cubicBezTo>
                <a:cubicBezTo>
                  <a:pt x="777" y="550"/>
                  <a:pt x="775" y="555"/>
                  <a:pt x="773" y="561"/>
                </a:cubicBezTo>
                <a:cubicBezTo>
                  <a:pt x="766" y="576"/>
                  <a:pt x="774" y="600"/>
                  <a:pt x="791" y="617"/>
                </a:cubicBezTo>
                <a:cubicBezTo>
                  <a:pt x="804" y="630"/>
                  <a:pt x="821" y="659"/>
                  <a:pt x="821" y="668"/>
                </a:cubicBezTo>
                <a:cubicBezTo>
                  <a:pt x="821" y="674"/>
                  <a:pt x="794" y="716"/>
                  <a:pt x="780" y="730"/>
                </a:cubicBezTo>
                <a:cubicBezTo>
                  <a:pt x="768" y="743"/>
                  <a:pt x="768" y="743"/>
                  <a:pt x="768" y="743"/>
                </a:cubicBezTo>
                <a:cubicBezTo>
                  <a:pt x="752" y="722"/>
                  <a:pt x="752" y="722"/>
                  <a:pt x="752" y="722"/>
                </a:cubicBezTo>
                <a:cubicBezTo>
                  <a:pt x="743" y="711"/>
                  <a:pt x="734" y="700"/>
                  <a:pt x="731" y="699"/>
                </a:cubicBezTo>
                <a:cubicBezTo>
                  <a:pt x="729" y="697"/>
                  <a:pt x="721" y="699"/>
                  <a:pt x="713" y="703"/>
                </a:cubicBezTo>
                <a:cubicBezTo>
                  <a:pt x="706" y="707"/>
                  <a:pt x="690" y="713"/>
                  <a:pt x="678" y="715"/>
                </a:cubicBezTo>
                <a:cubicBezTo>
                  <a:pt x="667" y="718"/>
                  <a:pt x="644" y="725"/>
                  <a:pt x="628" y="732"/>
                </a:cubicBezTo>
                <a:cubicBezTo>
                  <a:pt x="612" y="738"/>
                  <a:pt x="579" y="750"/>
                  <a:pt x="555" y="759"/>
                </a:cubicBezTo>
                <a:cubicBezTo>
                  <a:pt x="531" y="768"/>
                  <a:pt x="503" y="780"/>
                  <a:pt x="492" y="784"/>
                </a:cubicBezTo>
                <a:cubicBezTo>
                  <a:pt x="454" y="800"/>
                  <a:pt x="371" y="829"/>
                  <a:pt x="355" y="831"/>
                </a:cubicBezTo>
                <a:cubicBezTo>
                  <a:pt x="342" y="834"/>
                  <a:pt x="335" y="832"/>
                  <a:pt x="317" y="823"/>
                </a:cubicBezTo>
                <a:cubicBezTo>
                  <a:pt x="305" y="817"/>
                  <a:pt x="293" y="813"/>
                  <a:pt x="290" y="815"/>
                </a:cubicBezTo>
                <a:cubicBezTo>
                  <a:pt x="288" y="816"/>
                  <a:pt x="286" y="825"/>
                  <a:pt x="286" y="834"/>
                </a:cubicBezTo>
                <a:cubicBezTo>
                  <a:pt x="285" y="853"/>
                  <a:pt x="281" y="889"/>
                  <a:pt x="279" y="891"/>
                </a:cubicBezTo>
                <a:cubicBezTo>
                  <a:pt x="277" y="893"/>
                  <a:pt x="258" y="895"/>
                  <a:pt x="256" y="894"/>
                </a:cubicBezTo>
                <a:close/>
              </a:path>
            </a:pathLst>
          </a:custGeom>
          <a:solidFill>
            <a:srgbClr val="D3D3D3"/>
          </a:solidFill>
          <a:ln w="22225" cap="flat">
            <a:solidFill>
              <a:srgbClr val="D3D3D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42" name="Freeform 17"/>
          <p:cNvSpPr>
            <a:spLocks/>
          </p:cNvSpPr>
          <p:nvPr userDrawn="1"/>
        </p:nvSpPr>
        <p:spPr bwMode="grayWhite">
          <a:xfrm>
            <a:off x="6489071" y="1379428"/>
            <a:ext cx="471488" cy="457200"/>
          </a:xfrm>
          <a:custGeom>
            <a:avLst/>
            <a:gdLst>
              <a:gd name="T0" fmla="*/ 50 w 328"/>
              <a:gd name="T1" fmla="*/ 314 h 319"/>
              <a:gd name="T2" fmla="*/ 6 w 328"/>
              <a:gd name="T3" fmla="*/ 263 h 319"/>
              <a:gd name="T4" fmla="*/ 3 w 328"/>
              <a:gd name="T5" fmla="*/ 230 h 319"/>
              <a:gd name="T6" fmla="*/ 53 w 328"/>
              <a:gd name="T7" fmla="*/ 157 h 319"/>
              <a:gd name="T8" fmla="*/ 74 w 328"/>
              <a:gd name="T9" fmla="*/ 132 h 319"/>
              <a:gd name="T10" fmla="*/ 89 w 328"/>
              <a:gd name="T11" fmla="*/ 122 h 319"/>
              <a:gd name="T12" fmla="*/ 135 w 328"/>
              <a:gd name="T13" fmla="*/ 91 h 319"/>
              <a:gd name="T14" fmla="*/ 96 w 328"/>
              <a:gd name="T15" fmla="*/ 106 h 319"/>
              <a:gd name="T16" fmla="*/ 105 w 328"/>
              <a:gd name="T17" fmla="*/ 46 h 319"/>
              <a:gd name="T18" fmla="*/ 139 w 328"/>
              <a:gd name="T19" fmla="*/ 24 h 319"/>
              <a:gd name="T20" fmla="*/ 234 w 328"/>
              <a:gd name="T21" fmla="*/ 9 h 319"/>
              <a:gd name="T22" fmla="*/ 255 w 328"/>
              <a:gd name="T23" fmla="*/ 2 h 319"/>
              <a:gd name="T24" fmla="*/ 280 w 328"/>
              <a:gd name="T25" fmla="*/ 5 h 319"/>
              <a:gd name="T26" fmla="*/ 324 w 328"/>
              <a:gd name="T27" fmla="*/ 30 h 319"/>
              <a:gd name="T28" fmla="*/ 303 w 328"/>
              <a:gd name="T29" fmla="*/ 66 h 319"/>
              <a:gd name="T30" fmla="*/ 271 w 328"/>
              <a:gd name="T31" fmla="*/ 98 h 319"/>
              <a:gd name="T32" fmla="*/ 213 w 328"/>
              <a:gd name="T33" fmla="*/ 142 h 319"/>
              <a:gd name="T34" fmla="*/ 193 w 328"/>
              <a:gd name="T35" fmla="*/ 164 h 319"/>
              <a:gd name="T36" fmla="*/ 169 w 328"/>
              <a:gd name="T37" fmla="*/ 182 h 319"/>
              <a:gd name="T38" fmla="*/ 152 w 328"/>
              <a:gd name="T39" fmla="*/ 190 h 319"/>
              <a:gd name="T40" fmla="*/ 147 w 328"/>
              <a:gd name="T41" fmla="*/ 204 h 319"/>
              <a:gd name="T42" fmla="*/ 135 w 328"/>
              <a:gd name="T43" fmla="*/ 237 h 319"/>
              <a:gd name="T44" fmla="*/ 97 w 328"/>
              <a:gd name="T45" fmla="*/ 293 h 319"/>
              <a:gd name="T46" fmla="*/ 70 w 328"/>
              <a:gd name="T47" fmla="*/ 319 h 319"/>
              <a:gd name="T48" fmla="*/ 50 w 328"/>
              <a:gd name="T49" fmla="*/ 31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8" h="319">
                <a:moveTo>
                  <a:pt x="50" y="314"/>
                </a:moveTo>
                <a:cubicBezTo>
                  <a:pt x="26" y="309"/>
                  <a:pt x="15" y="296"/>
                  <a:pt x="6" y="263"/>
                </a:cubicBezTo>
                <a:cubicBezTo>
                  <a:pt x="1" y="247"/>
                  <a:pt x="0" y="237"/>
                  <a:pt x="3" y="230"/>
                </a:cubicBezTo>
                <a:cubicBezTo>
                  <a:pt x="9" y="215"/>
                  <a:pt x="35" y="176"/>
                  <a:pt x="53" y="157"/>
                </a:cubicBezTo>
                <a:cubicBezTo>
                  <a:pt x="61" y="147"/>
                  <a:pt x="71" y="136"/>
                  <a:pt x="74" y="132"/>
                </a:cubicBezTo>
                <a:cubicBezTo>
                  <a:pt x="77" y="128"/>
                  <a:pt x="83" y="123"/>
                  <a:pt x="89" y="122"/>
                </a:cubicBezTo>
                <a:cubicBezTo>
                  <a:pt x="100" y="119"/>
                  <a:pt x="135" y="96"/>
                  <a:pt x="135" y="91"/>
                </a:cubicBezTo>
                <a:cubicBezTo>
                  <a:pt x="135" y="87"/>
                  <a:pt x="117" y="94"/>
                  <a:pt x="96" y="106"/>
                </a:cubicBezTo>
                <a:cubicBezTo>
                  <a:pt x="59" y="128"/>
                  <a:pt x="64" y="93"/>
                  <a:pt x="105" y="46"/>
                </a:cubicBezTo>
                <a:cubicBezTo>
                  <a:pt x="123" y="26"/>
                  <a:pt x="127" y="23"/>
                  <a:pt x="139" y="24"/>
                </a:cubicBezTo>
                <a:cubicBezTo>
                  <a:pt x="177" y="25"/>
                  <a:pt x="220" y="18"/>
                  <a:pt x="234" y="9"/>
                </a:cubicBezTo>
                <a:cubicBezTo>
                  <a:pt x="243" y="3"/>
                  <a:pt x="251" y="0"/>
                  <a:pt x="255" y="2"/>
                </a:cubicBezTo>
                <a:cubicBezTo>
                  <a:pt x="258" y="3"/>
                  <a:pt x="269" y="5"/>
                  <a:pt x="280" y="5"/>
                </a:cubicBezTo>
                <a:cubicBezTo>
                  <a:pt x="301" y="6"/>
                  <a:pt x="317" y="15"/>
                  <a:pt x="324" y="30"/>
                </a:cubicBezTo>
                <a:cubicBezTo>
                  <a:pt x="328" y="39"/>
                  <a:pt x="327" y="42"/>
                  <a:pt x="303" y="66"/>
                </a:cubicBezTo>
                <a:cubicBezTo>
                  <a:pt x="289" y="80"/>
                  <a:pt x="274" y="94"/>
                  <a:pt x="271" y="98"/>
                </a:cubicBezTo>
                <a:cubicBezTo>
                  <a:pt x="257" y="113"/>
                  <a:pt x="222" y="140"/>
                  <a:pt x="213" y="142"/>
                </a:cubicBezTo>
                <a:cubicBezTo>
                  <a:pt x="208" y="143"/>
                  <a:pt x="200" y="152"/>
                  <a:pt x="193" y="164"/>
                </a:cubicBezTo>
                <a:cubicBezTo>
                  <a:pt x="182" y="182"/>
                  <a:pt x="180" y="184"/>
                  <a:pt x="169" y="182"/>
                </a:cubicBezTo>
                <a:cubicBezTo>
                  <a:pt x="158" y="181"/>
                  <a:pt x="155" y="182"/>
                  <a:pt x="152" y="190"/>
                </a:cubicBezTo>
                <a:cubicBezTo>
                  <a:pt x="149" y="195"/>
                  <a:pt x="147" y="202"/>
                  <a:pt x="147" y="204"/>
                </a:cubicBezTo>
                <a:cubicBezTo>
                  <a:pt x="147" y="206"/>
                  <a:pt x="142" y="221"/>
                  <a:pt x="135" y="237"/>
                </a:cubicBezTo>
                <a:cubicBezTo>
                  <a:pt x="126" y="259"/>
                  <a:pt x="117" y="272"/>
                  <a:pt x="97" y="293"/>
                </a:cubicBezTo>
                <a:cubicBezTo>
                  <a:pt x="83" y="307"/>
                  <a:pt x="70" y="319"/>
                  <a:pt x="70" y="319"/>
                </a:cubicBezTo>
                <a:cubicBezTo>
                  <a:pt x="69" y="319"/>
                  <a:pt x="60" y="317"/>
                  <a:pt x="50" y="314"/>
                </a:cubicBezTo>
                <a:close/>
              </a:path>
            </a:pathLst>
          </a:custGeom>
          <a:solidFill>
            <a:srgbClr val="D3D3D3"/>
          </a:solidFill>
          <a:ln w="22225" cap="flat">
            <a:solidFill>
              <a:srgbClr val="D3D3D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43" name="Freeform 18"/>
          <p:cNvSpPr>
            <a:spLocks/>
          </p:cNvSpPr>
          <p:nvPr userDrawn="1"/>
        </p:nvSpPr>
        <p:spPr bwMode="grayWhite">
          <a:xfrm>
            <a:off x="6884359" y="1160353"/>
            <a:ext cx="166688" cy="242888"/>
          </a:xfrm>
          <a:custGeom>
            <a:avLst/>
            <a:gdLst>
              <a:gd name="T0" fmla="*/ 44 w 116"/>
              <a:gd name="T1" fmla="*/ 162 h 169"/>
              <a:gd name="T2" fmla="*/ 19 w 116"/>
              <a:gd name="T3" fmla="*/ 137 h 169"/>
              <a:gd name="T4" fmla="*/ 3 w 116"/>
              <a:gd name="T5" fmla="*/ 111 h 169"/>
              <a:gd name="T6" fmla="*/ 20 w 116"/>
              <a:gd name="T7" fmla="*/ 69 h 169"/>
              <a:gd name="T8" fmla="*/ 52 w 116"/>
              <a:gd name="T9" fmla="*/ 0 h 169"/>
              <a:gd name="T10" fmla="*/ 68 w 116"/>
              <a:gd name="T11" fmla="*/ 31 h 169"/>
              <a:gd name="T12" fmla="*/ 84 w 116"/>
              <a:gd name="T13" fmla="*/ 66 h 169"/>
              <a:gd name="T14" fmla="*/ 116 w 116"/>
              <a:gd name="T15" fmla="*/ 97 h 169"/>
              <a:gd name="T16" fmla="*/ 104 w 116"/>
              <a:gd name="T17" fmla="*/ 124 h 169"/>
              <a:gd name="T18" fmla="*/ 82 w 116"/>
              <a:gd name="T19" fmla="*/ 144 h 169"/>
              <a:gd name="T20" fmla="*/ 64 w 116"/>
              <a:gd name="T21" fmla="*/ 156 h 169"/>
              <a:gd name="T22" fmla="*/ 44 w 116"/>
              <a:gd name="T23" fmla="*/ 16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6" h="169">
                <a:moveTo>
                  <a:pt x="44" y="162"/>
                </a:moveTo>
                <a:cubicBezTo>
                  <a:pt x="41" y="160"/>
                  <a:pt x="29" y="148"/>
                  <a:pt x="19" y="137"/>
                </a:cubicBezTo>
                <a:cubicBezTo>
                  <a:pt x="4" y="121"/>
                  <a:pt x="0" y="114"/>
                  <a:pt x="3" y="111"/>
                </a:cubicBezTo>
                <a:cubicBezTo>
                  <a:pt x="5" y="108"/>
                  <a:pt x="13" y="89"/>
                  <a:pt x="20" y="69"/>
                </a:cubicBezTo>
                <a:cubicBezTo>
                  <a:pt x="33" y="27"/>
                  <a:pt x="46" y="0"/>
                  <a:pt x="52" y="0"/>
                </a:cubicBezTo>
                <a:cubicBezTo>
                  <a:pt x="59" y="0"/>
                  <a:pt x="68" y="17"/>
                  <a:pt x="68" y="31"/>
                </a:cubicBezTo>
                <a:cubicBezTo>
                  <a:pt x="68" y="54"/>
                  <a:pt x="72" y="63"/>
                  <a:pt x="84" y="66"/>
                </a:cubicBezTo>
                <a:cubicBezTo>
                  <a:pt x="97" y="69"/>
                  <a:pt x="116" y="87"/>
                  <a:pt x="116" y="97"/>
                </a:cubicBezTo>
                <a:cubicBezTo>
                  <a:pt x="116" y="101"/>
                  <a:pt x="111" y="114"/>
                  <a:pt x="104" y="124"/>
                </a:cubicBezTo>
                <a:cubicBezTo>
                  <a:pt x="95" y="138"/>
                  <a:pt x="89" y="144"/>
                  <a:pt x="82" y="144"/>
                </a:cubicBezTo>
                <a:cubicBezTo>
                  <a:pt x="76" y="144"/>
                  <a:pt x="69" y="148"/>
                  <a:pt x="64" y="156"/>
                </a:cubicBezTo>
                <a:cubicBezTo>
                  <a:pt x="55" y="169"/>
                  <a:pt x="53" y="169"/>
                  <a:pt x="44" y="162"/>
                </a:cubicBezTo>
                <a:close/>
              </a:path>
            </a:pathLst>
          </a:custGeom>
          <a:solidFill>
            <a:srgbClr val="D3D3D3"/>
          </a:solidFill>
          <a:ln w="22225" cap="flat">
            <a:solidFill>
              <a:srgbClr val="D3D3D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44" name="Freeform 19"/>
          <p:cNvSpPr>
            <a:spLocks noEditPoints="1"/>
          </p:cNvSpPr>
          <p:nvPr userDrawn="1"/>
        </p:nvSpPr>
        <p:spPr bwMode="grayWhite">
          <a:xfrm>
            <a:off x="1140781" y="-2619487"/>
            <a:ext cx="1957388" cy="2232027"/>
          </a:xfrm>
          <a:custGeom>
            <a:avLst/>
            <a:gdLst>
              <a:gd name="T0" fmla="*/ 129 w 1362"/>
              <a:gd name="T1" fmla="*/ 10 h 1554"/>
              <a:gd name="T2" fmla="*/ 104 w 1362"/>
              <a:gd name="T3" fmla="*/ 36 h 1554"/>
              <a:gd name="T4" fmla="*/ 28 w 1362"/>
              <a:gd name="T5" fmla="*/ 254 h 1554"/>
              <a:gd name="T6" fmla="*/ 60 w 1362"/>
              <a:gd name="T7" fmla="*/ 420 h 1554"/>
              <a:gd name="T8" fmla="*/ 49 w 1362"/>
              <a:gd name="T9" fmla="*/ 498 h 1554"/>
              <a:gd name="T10" fmla="*/ 21 w 1362"/>
              <a:gd name="T11" fmla="*/ 546 h 1554"/>
              <a:gd name="T12" fmla="*/ 45 w 1362"/>
              <a:gd name="T13" fmla="*/ 629 h 1554"/>
              <a:gd name="T14" fmla="*/ 59 w 1362"/>
              <a:gd name="T15" fmla="*/ 731 h 1554"/>
              <a:gd name="T16" fmla="*/ 39 w 1362"/>
              <a:gd name="T17" fmla="*/ 904 h 1554"/>
              <a:gd name="T18" fmla="*/ 97 w 1362"/>
              <a:gd name="T19" fmla="*/ 1024 h 1554"/>
              <a:gd name="T20" fmla="*/ 75 w 1362"/>
              <a:gd name="T21" fmla="*/ 1080 h 1554"/>
              <a:gd name="T22" fmla="*/ 166 w 1362"/>
              <a:gd name="T23" fmla="*/ 1129 h 1554"/>
              <a:gd name="T24" fmla="*/ 225 w 1362"/>
              <a:gd name="T25" fmla="*/ 1254 h 1554"/>
              <a:gd name="T26" fmla="*/ 913 w 1362"/>
              <a:gd name="T27" fmla="*/ 1477 h 1554"/>
              <a:gd name="T28" fmla="*/ 1108 w 1362"/>
              <a:gd name="T29" fmla="*/ 1516 h 1554"/>
              <a:gd name="T30" fmla="*/ 1315 w 1362"/>
              <a:gd name="T31" fmla="*/ 1547 h 1554"/>
              <a:gd name="T32" fmla="*/ 1325 w 1362"/>
              <a:gd name="T33" fmla="*/ 1448 h 1554"/>
              <a:gd name="T34" fmla="*/ 1345 w 1362"/>
              <a:gd name="T35" fmla="*/ 1238 h 1554"/>
              <a:gd name="T36" fmla="*/ 1360 w 1362"/>
              <a:gd name="T37" fmla="*/ 1088 h 1554"/>
              <a:gd name="T38" fmla="*/ 1117 w 1362"/>
              <a:gd name="T39" fmla="*/ 921 h 1554"/>
              <a:gd name="T40" fmla="*/ 1033 w 1362"/>
              <a:gd name="T41" fmla="*/ 822 h 1554"/>
              <a:gd name="T42" fmla="*/ 903 w 1362"/>
              <a:gd name="T43" fmla="*/ 750 h 1554"/>
              <a:gd name="T44" fmla="*/ 685 w 1362"/>
              <a:gd name="T45" fmla="*/ 449 h 1554"/>
              <a:gd name="T46" fmla="*/ 703 w 1362"/>
              <a:gd name="T47" fmla="*/ 219 h 1554"/>
              <a:gd name="T48" fmla="*/ 657 w 1362"/>
              <a:gd name="T49" fmla="*/ 199 h 1554"/>
              <a:gd name="T50" fmla="*/ 599 w 1362"/>
              <a:gd name="T51" fmla="*/ 198 h 1554"/>
              <a:gd name="T52" fmla="*/ 565 w 1362"/>
              <a:gd name="T53" fmla="*/ 157 h 1554"/>
              <a:gd name="T54" fmla="*/ 516 w 1362"/>
              <a:gd name="T55" fmla="*/ 116 h 1554"/>
              <a:gd name="T56" fmla="*/ 443 w 1362"/>
              <a:gd name="T57" fmla="*/ 71 h 1554"/>
              <a:gd name="T58" fmla="*/ 416 w 1362"/>
              <a:gd name="T59" fmla="*/ 30 h 1554"/>
              <a:gd name="T60" fmla="*/ 246 w 1362"/>
              <a:gd name="T61" fmla="*/ 38 h 1554"/>
              <a:gd name="T62" fmla="*/ 203 w 1362"/>
              <a:gd name="T63" fmla="*/ 1 h 1554"/>
              <a:gd name="T64" fmla="*/ 628 w 1362"/>
              <a:gd name="T65" fmla="*/ 603 h 1554"/>
              <a:gd name="T66" fmla="*/ 717 w 1362"/>
              <a:gd name="T67" fmla="*/ 677 h 1554"/>
              <a:gd name="T68" fmla="*/ 668 w 1362"/>
              <a:gd name="T69" fmla="*/ 720 h 1554"/>
              <a:gd name="T70" fmla="*/ 589 w 1362"/>
              <a:gd name="T71" fmla="*/ 722 h 1554"/>
              <a:gd name="T72" fmla="*/ 526 w 1362"/>
              <a:gd name="T73" fmla="*/ 743 h 1554"/>
              <a:gd name="T74" fmla="*/ 459 w 1362"/>
              <a:gd name="T75" fmla="*/ 734 h 1554"/>
              <a:gd name="T76" fmla="*/ 509 w 1362"/>
              <a:gd name="T77" fmla="*/ 643 h 1554"/>
              <a:gd name="T78" fmla="*/ 456 w 1362"/>
              <a:gd name="T79" fmla="*/ 594 h 1554"/>
              <a:gd name="T80" fmla="*/ 535 w 1362"/>
              <a:gd name="T81" fmla="*/ 561 h 1554"/>
              <a:gd name="T82" fmla="*/ 714 w 1362"/>
              <a:gd name="T83" fmla="*/ 1125 h 1554"/>
              <a:gd name="T84" fmla="*/ 847 w 1362"/>
              <a:gd name="T85" fmla="*/ 1200 h 1554"/>
              <a:gd name="T86" fmla="*/ 952 w 1362"/>
              <a:gd name="T87" fmla="*/ 1169 h 1554"/>
              <a:gd name="T88" fmla="*/ 843 w 1362"/>
              <a:gd name="T89" fmla="*/ 1256 h 1554"/>
              <a:gd name="T90" fmla="*/ 754 w 1362"/>
              <a:gd name="T91" fmla="*/ 1292 h 1554"/>
              <a:gd name="T92" fmla="*/ 584 w 1362"/>
              <a:gd name="T93" fmla="*/ 1273 h 1554"/>
              <a:gd name="T94" fmla="*/ 652 w 1362"/>
              <a:gd name="T95" fmla="*/ 1224 h 1554"/>
              <a:gd name="T96" fmla="*/ 676 w 1362"/>
              <a:gd name="T97" fmla="*/ 1109 h 1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62" h="1554">
                <a:moveTo>
                  <a:pt x="203" y="1"/>
                </a:moveTo>
                <a:cubicBezTo>
                  <a:pt x="197" y="0"/>
                  <a:pt x="187" y="2"/>
                  <a:pt x="173" y="3"/>
                </a:cubicBezTo>
                <a:cubicBezTo>
                  <a:pt x="151" y="6"/>
                  <a:pt x="131" y="9"/>
                  <a:pt x="129" y="10"/>
                </a:cubicBezTo>
                <a:cubicBezTo>
                  <a:pt x="125" y="12"/>
                  <a:pt x="124" y="18"/>
                  <a:pt x="125" y="32"/>
                </a:cubicBezTo>
                <a:cubicBezTo>
                  <a:pt x="127" y="54"/>
                  <a:pt x="122" y="60"/>
                  <a:pt x="113" y="46"/>
                </a:cubicBezTo>
                <a:cubicBezTo>
                  <a:pt x="109" y="40"/>
                  <a:pt x="105" y="36"/>
                  <a:pt x="104" y="36"/>
                </a:cubicBezTo>
                <a:cubicBezTo>
                  <a:pt x="97" y="36"/>
                  <a:pt x="39" y="141"/>
                  <a:pt x="27" y="174"/>
                </a:cubicBezTo>
                <a:cubicBezTo>
                  <a:pt x="20" y="193"/>
                  <a:pt x="12" y="214"/>
                  <a:pt x="9" y="218"/>
                </a:cubicBezTo>
                <a:cubicBezTo>
                  <a:pt x="0" y="233"/>
                  <a:pt x="2" y="237"/>
                  <a:pt x="28" y="254"/>
                </a:cubicBezTo>
                <a:cubicBezTo>
                  <a:pt x="84" y="292"/>
                  <a:pt x="86" y="296"/>
                  <a:pt x="63" y="344"/>
                </a:cubicBezTo>
                <a:cubicBezTo>
                  <a:pt x="55" y="360"/>
                  <a:pt x="47" y="381"/>
                  <a:pt x="46" y="390"/>
                </a:cubicBezTo>
                <a:cubicBezTo>
                  <a:pt x="44" y="406"/>
                  <a:pt x="45" y="408"/>
                  <a:pt x="60" y="420"/>
                </a:cubicBezTo>
                <a:cubicBezTo>
                  <a:pt x="68" y="426"/>
                  <a:pt x="75" y="433"/>
                  <a:pt x="74" y="435"/>
                </a:cubicBezTo>
                <a:cubicBezTo>
                  <a:pt x="72" y="437"/>
                  <a:pt x="71" y="448"/>
                  <a:pt x="71" y="461"/>
                </a:cubicBezTo>
                <a:cubicBezTo>
                  <a:pt x="70" y="486"/>
                  <a:pt x="65" y="494"/>
                  <a:pt x="49" y="498"/>
                </a:cubicBezTo>
                <a:cubicBezTo>
                  <a:pt x="37" y="501"/>
                  <a:pt x="31" y="511"/>
                  <a:pt x="31" y="525"/>
                </a:cubicBezTo>
                <a:cubicBezTo>
                  <a:pt x="31" y="531"/>
                  <a:pt x="29" y="536"/>
                  <a:pt x="28" y="536"/>
                </a:cubicBezTo>
                <a:cubicBezTo>
                  <a:pt x="26" y="536"/>
                  <a:pt x="23" y="540"/>
                  <a:pt x="21" y="546"/>
                </a:cubicBezTo>
                <a:cubicBezTo>
                  <a:pt x="19" y="554"/>
                  <a:pt x="21" y="559"/>
                  <a:pt x="27" y="565"/>
                </a:cubicBezTo>
                <a:cubicBezTo>
                  <a:pt x="33" y="571"/>
                  <a:pt x="35" y="579"/>
                  <a:pt x="35" y="592"/>
                </a:cubicBezTo>
                <a:cubicBezTo>
                  <a:pt x="35" y="602"/>
                  <a:pt x="39" y="618"/>
                  <a:pt x="45" y="629"/>
                </a:cubicBezTo>
                <a:cubicBezTo>
                  <a:pt x="51" y="643"/>
                  <a:pt x="54" y="653"/>
                  <a:pt x="52" y="662"/>
                </a:cubicBezTo>
                <a:cubicBezTo>
                  <a:pt x="51" y="671"/>
                  <a:pt x="53" y="680"/>
                  <a:pt x="58" y="691"/>
                </a:cubicBezTo>
                <a:cubicBezTo>
                  <a:pt x="66" y="707"/>
                  <a:pt x="66" y="707"/>
                  <a:pt x="59" y="731"/>
                </a:cubicBezTo>
                <a:cubicBezTo>
                  <a:pt x="50" y="762"/>
                  <a:pt x="40" y="815"/>
                  <a:pt x="38" y="850"/>
                </a:cubicBezTo>
                <a:cubicBezTo>
                  <a:pt x="36" y="865"/>
                  <a:pt x="34" y="881"/>
                  <a:pt x="33" y="886"/>
                </a:cubicBezTo>
                <a:cubicBezTo>
                  <a:pt x="31" y="891"/>
                  <a:pt x="34" y="897"/>
                  <a:pt x="39" y="904"/>
                </a:cubicBezTo>
                <a:cubicBezTo>
                  <a:pt x="50" y="916"/>
                  <a:pt x="56" y="931"/>
                  <a:pt x="63" y="960"/>
                </a:cubicBezTo>
                <a:cubicBezTo>
                  <a:pt x="69" y="985"/>
                  <a:pt x="77" y="1002"/>
                  <a:pt x="88" y="1015"/>
                </a:cubicBezTo>
                <a:cubicBezTo>
                  <a:pt x="97" y="1024"/>
                  <a:pt x="97" y="1024"/>
                  <a:pt x="97" y="1024"/>
                </a:cubicBezTo>
                <a:cubicBezTo>
                  <a:pt x="88" y="1033"/>
                  <a:pt x="88" y="1033"/>
                  <a:pt x="88" y="1033"/>
                </a:cubicBezTo>
                <a:cubicBezTo>
                  <a:pt x="82" y="1039"/>
                  <a:pt x="79" y="1047"/>
                  <a:pt x="79" y="1057"/>
                </a:cubicBezTo>
                <a:cubicBezTo>
                  <a:pt x="79" y="1065"/>
                  <a:pt x="77" y="1076"/>
                  <a:pt x="75" y="1080"/>
                </a:cubicBezTo>
                <a:cubicBezTo>
                  <a:pt x="71" y="1087"/>
                  <a:pt x="73" y="1089"/>
                  <a:pt x="96" y="1099"/>
                </a:cubicBezTo>
                <a:cubicBezTo>
                  <a:pt x="110" y="1106"/>
                  <a:pt x="128" y="1116"/>
                  <a:pt x="137" y="1121"/>
                </a:cubicBezTo>
                <a:cubicBezTo>
                  <a:pt x="149" y="1130"/>
                  <a:pt x="155" y="1131"/>
                  <a:pt x="166" y="1129"/>
                </a:cubicBezTo>
                <a:cubicBezTo>
                  <a:pt x="182" y="1126"/>
                  <a:pt x="181" y="1122"/>
                  <a:pt x="181" y="1187"/>
                </a:cubicBezTo>
                <a:cubicBezTo>
                  <a:pt x="181" y="1236"/>
                  <a:pt x="181" y="1236"/>
                  <a:pt x="181" y="1236"/>
                </a:cubicBezTo>
                <a:cubicBezTo>
                  <a:pt x="225" y="1254"/>
                  <a:pt x="225" y="1254"/>
                  <a:pt x="225" y="1254"/>
                </a:cubicBezTo>
                <a:cubicBezTo>
                  <a:pt x="368" y="1312"/>
                  <a:pt x="536" y="1369"/>
                  <a:pt x="699" y="1416"/>
                </a:cubicBezTo>
                <a:cubicBezTo>
                  <a:pt x="746" y="1429"/>
                  <a:pt x="811" y="1448"/>
                  <a:pt x="843" y="1458"/>
                </a:cubicBezTo>
                <a:cubicBezTo>
                  <a:pt x="875" y="1467"/>
                  <a:pt x="907" y="1476"/>
                  <a:pt x="913" y="1477"/>
                </a:cubicBezTo>
                <a:cubicBezTo>
                  <a:pt x="920" y="1478"/>
                  <a:pt x="952" y="1485"/>
                  <a:pt x="985" y="1492"/>
                </a:cubicBezTo>
                <a:cubicBezTo>
                  <a:pt x="1018" y="1498"/>
                  <a:pt x="1050" y="1505"/>
                  <a:pt x="1056" y="1506"/>
                </a:cubicBezTo>
                <a:cubicBezTo>
                  <a:pt x="1062" y="1507"/>
                  <a:pt x="1086" y="1511"/>
                  <a:pt x="1108" y="1516"/>
                </a:cubicBezTo>
                <a:cubicBezTo>
                  <a:pt x="1131" y="1520"/>
                  <a:pt x="1155" y="1525"/>
                  <a:pt x="1161" y="1526"/>
                </a:cubicBezTo>
                <a:cubicBezTo>
                  <a:pt x="1168" y="1527"/>
                  <a:pt x="1198" y="1533"/>
                  <a:pt x="1229" y="1539"/>
                </a:cubicBezTo>
                <a:cubicBezTo>
                  <a:pt x="1292" y="1552"/>
                  <a:pt x="1315" y="1554"/>
                  <a:pt x="1315" y="1547"/>
                </a:cubicBezTo>
                <a:cubicBezTo>
                  <a:pt x="1316" y="1544"/>
                  <a:pt x="1316" y="1538"/>
                  <a:pt x="1317" y="1534"/>
                </a:cubicBezTo>
                <a:cubicBezTo>
                  <a:pt x="1318" y="1530"/>
                  <a:pt x="1320" y="1511"/>
                  <a:pt x="1321" y="1492"/>
                </a:cubicBezTo>
                <a:cubicBezTo>
                  <a:pt x="1323" y="1473"/>
                  <a:pt x="1324" y="1453"/>
                  <a:pt x="1325" y="1448"/>
                </a:cubicBezTo>
                <a:cubicBezTo>
                  <a:pt x="1326" y="1442"/>
                  <a:pt x="1328" y="1426"/>
                  <a:pt x="1329" y="1412"/>
                </a:cubicBezTo>
                <a:cubicBezTo>
                  <a:pt x="1333" y="1371"/>
                  <a:pt x="1339" y="1306"/>
                  <a:pt x="1341" y="1286"/>
                </a:cubicBezTo>
                <a:cubicBezTo>
                  <a:pt x="1342" y="1279"/>
                  <a:pt x="1344" y="1257"/>
                  <a:pt x="1345" y="1238"/>
                </a:cubicBezTo>
                <a:cubicBezTo>
                  <a:pt x="1347" y="1218"/>
                  <a:pt x="1348" y="1199"/>
                  <a:pt x="1349" y="1196"/>
                </a:cubicBezTo>
                <a:cubicBezTo>
                  <a:pt x="1350" y="1192"/>
                  <a:pt x="1352" y="1174"/>
                  <a:pt x="1353" y="1156"/>
                </a:cubicBezTo>
                <a:cubicBezTo>
                  <a:pt x="1354" y="1137"/>
                  <a:pt x="1357" y="1107"/>
                  <a:pt x="1360" y="1088"/>
                </a:cubicBezTo>
                <a:cubicBezTo>
                  <a:pt x="1362" y="1070"/>
                  <a:pt x="1362" y="1054"/>
                  <a:pt x="1361" y="1052"/>
                </a:cubicBezTo>
                <a:cubicBezTo>
                  <a:pt x="1360" y="1050"/>
                  <a:pt x="1333" y="1035"/>
                  <a:pt x="1302" y="1018"/>
                </a:cubicBezTo>
                <a:cubicBezTo>
                  <a:pt x="1236" y="984"/>
                  <a:pt x="1168" y="948"/>
                  <a:pt x="1117" y="921"/>
                </a:cubicBezTo>
                <a:cubicBezTo>
                  <a:pt x="1082" y="902"/>
                  <a:pt x="1082" y="902"/>
                  <a:pt x="1082" y="902"/>
                </a:cubicBezTo>
                <a:cubicBezTo>
                  <a:pt x="1057" y="862"/>
                  <a:pt x="1057" y="862"/>
                  <a:pt x="1057" y="862"/>
                </a:cubicBezTo>
                <a:cubicBezTo>
                  <a:pt x="1033" y="822"/>
                  <a:pt x="1033" y="822"/>
                  <a:pt x="1033" y="822"/>
                </a:cubicBezTo>
                <a:cubicBezTo>
                  <a:pt x="987" y="812"/>
                  <a:pt x="987" y="812"/>
                  <a:pt x="987" y="812"/>
                </a:cubicBezTo>
                <a:cubicBezTo>
                  <a:pt x="942" y="802"/>
                  <a:pt x="942" y="802"/>
                  <a:pt x="942" y="802"/>
                </a:cubicBezTo>
                <a:cubicBezTo>
                  <a:pt x="903" y="750"/>
                  <a:pt x="903" y="750"/>
                  <a:pt x="903" y="750"/>
                </a:cubicBezTo>
                <a:cubicBezTo>
                  <a:pt x="882" y="721"/>
                  <a:pt x="848" y="675"/>
                  <a:pt x="829" y="648"/>
                </a:cubicBezTo>
                <a:cubicBezTo>
                  <a:pt x="809" y="620"/>
                  <a:pt x="770" y="566"/>
                  <a:pt x="742" y="528"/>
                </a:cubicBezTo>
                <a:cubicBezTo>
                  <a:pt x="714" y="490"/>
                  <a:pt x="688" y="455"/>
                  <a:pt x="685" y="449"/>
                </a:cubicBezTo>
                <a:cubicBezTo>
                  <a:pt x="679" y="440"/>
                  <a:pt x="679" y="437"/>
                  <a:pt x="693" y="403"/>
                </a:cubicBezTo>
                <a:cubicBezTo>
                  <a:pt x="742" y="272"/>
                  <a:pt x="742" y="273"/>
                  <a:pt x="717" y="240"/>
                </a:cubicBezTo>
                <a:cubicBezTo>
                  <a:pt x="709" y="230"/>
                  <a:pt x="703" y="221"/>
                  <a:pt x="703" y="219"/>
                </a:cubicBezTo>
                <a:cubicBezTo>
                  <a:pt x="703" y="217"/>
                  <a:pt x="701" y="216"/>
                  <a:pt x="699" y="216"/>
                </a:cubicBezTo>
                <a:cubicBezTo>
                  <a:pt x="696" y="216"/>
                  <a:pt x="690" y="212"/>
                  <a:pt x="684" y="208"/>
                </a:cubicBezTo>
                <a:cubicBezTo>
                  <a:pt x="678" y="204"/>
                  <a:pt x="666" y="200"/>
                  <a:pt x="657" y="199"/>
                </a:cubicBezTo>
                <a:cubicBezTo>
                  <a:pt x="643" y="197"/>
                  <a:pt x="639" y="199"/>
                  <a:pt x="625" y="210"/>
                </a:cubicBezTo>
                <a:cubicBezTo>
                  <a:pt x="610" y="222"/>
                  <a:pt x="607" y="223"/>
                  <a:pt x="598" y="220"/>
                </a:cubicBezTo>
                <a:cubicBezTo>
                  <a:pt x="584" y="215"/>
                  <a:pt x="584" y="212"/>
                  <a:pt x="599" y="198"/>
                </a:cubicBezTo>
                <a:cubicBezTo>
                  <a:pt x="606" y="191"/>
                  <a:pt x="610" y="184"/>
                  <a:pt x="608" y="182"/>
                </a:cubicBezTo>
                <a:cubicBezTo>
                  <a:pt x="607" y="180"/>
                  <a:pt x="605" y="168"/>
                  <a:pt x="605" y="157"/>
                </a:cubicBezTo>
                <a:cubicBezTo>
                  <a:pt x="605" y="122"/>
                  <a:pt x="600" y="122"/>
                  <a:pt x="565" y="157"/>
                </a:cubicBezTo>
                <a:cubicBezTo>
                  <a:pt x="548" y="174"/>
                  <a:pt x="533" y="188"/>
                  <a:pt x="532" y="188"/>
                </a:cubicBezTo>
                <a:cubicBezTo>
                  <a:pt x="529" y="188"/>
                  <a:pt x="517" y="174"/>
                  <a:pt x="517" y="171"/>
                </a:cubicBezTo>
                <a:cubicBezTo>
                  <a:pt x="516" y="169"/>
                  <a:pt x="516" y="144"/>
                  <a:pt x="516" y="116"/>
                </a:cubicBezTo>
                <a:cubicBezTo>
                  <a:pt x="515" y="65"/>
                  <a:pt x="515" y="65"/>
                  <a:pt x="505" y="60"/>
                </a:cubicBezTo>
                <a:cubicBezTo>
                  <a:pt x="491" y="54"/>
                  <a:pt x="484" y="54"/>
                  <a:pt x="472" y="64"/>
                </a:cubicBezTo>
                <a:cubicBezTo>
                  <a:pt x="464" y="70"/>
                  <a:pt x="457" y="72"/>
                  <a:pt x="443" y="71"/>
                </a:cubicBezTo>
                <a:cubicBezTo>
                  <a:pt x="430" y="70"/>
                  <a:pt x="424" y="69"/>
                  <a:pt x="427" y="66"/>
                </a:cubicBezTo>
                <a:cubicBezTo>
                  <a:pt x="429" y="63"/>
                  <a:pt x="431" y="56"/>
                  <a:pt x="432" y="50"/>
                </a:cubicBezTo>
                <a:cubicBezTo>
                  <a:pt x="434" y="40"/>
                  <a:pt x="432" y="38"/>
                  <a:pt x="416" y="30"/>
                </a:cubicBezTo>
                <a:cubicBezTo>
                  <a:pt x="397" y="20"/>
                  <a:pt x="368" y="18"/>
                  <a:pt x="343" y="25"/>
                </a:cubicBezTo>
                <a:cubicBezTo>
                  <a:pt x="338" y="26"/>
                  <a:pt x="314" y="28"/>
                  <a:pt x="291" y="30"/>
                </a:cubicBezTo>
                <a:cubicBezTo>
                  <a:pt x="261" y="31"/>
                  <a:pt x="248" y="34"/>
                  <a:pt x="246" y="38"/>
                </a:cubicBezTo>
                <a:cubicBezTo>
                  <a:pt x="244" y="41"/>
                  <a:pt x="237" y="44"/>
                  <a:pt x="231" y="44"/>
                </a:cubicBezTo>
                <a:cubicBezTo>
                  <a:pt x="220" y="44"/>
                  <a:pt x="219" y="43"/>
                  <a:pt x="219" y="27"/>
                </a:cubicBezTo>
                <a:cubicBezTo>
                  <a:pt x="219" y="7"/>
                  <a:pt x="218" y="1"/>
                  <a:pt x="203" y="1"/>
                </a:cubicBezTo>
                <a:close/>
                <a:moveTo>
                  <a:pt x="535" y="561"/>
                </a:moveTo>
                <a:cubicBezTo>
                  <a:pt x="639" y="562"/>
                  <a:pt x="647" y="563"/>
                  <a:pt x="647" y="580"/>
                </a:cubicBezTo>
                <a:cubicBezTo>
                  <a:pt x="647" y="584"/>
                  <a:pt x="639" y="594"/>
                  <a:pt x="628" y="603"/>
                </a:cubicBezTo>
                <a:cubicBezTo>
                  <a:pt x="615" y="614"/>
                  <a:pt x="610" y="620"/>
                  <a:pt x="613" y="623"/>
                </a:cubicBezTo>
                <a:cubicBezTo>
                  <a:pt x="618" y="628"/>
                  <a:pt x="673" y="650"/>
                  <a:pt x="700" y="658"/>
                </a:cubicBezTo>
                <a:cubicBezTo>
                  <a:pt x="719" y="664"/>
                  <a:pt x="720" y="664"/>
                  <a:pt x="717" y="677"/>
                </a:cubicBezTo>
                <a:cubicBezTo>
                  <a:pt x="714" y="691"/>
                  <a:pt x="708" y="700"/>
                  <a:pt x="703" y="700"/>
                </a:cubicBezTo>
                <a:cubicBezTo>
                  <a:pt x="701" y="700"/>
                  <a:pt x="692" y="704"/>
                  <a:pt x="683" y="710"/>
                </a:cubicBezTo>
                <a:cubicBezTo>
                  <a:pt x="668" y="720"/>
                  <a:pt x="668" y="720"/>
                  <a:pt x="668" y="720"/>
                </a:cubicBezTo>
                <a:cubicBezTo>
                  <a:pt x="644" y="710"/>
                  <a:pt x="644" y="710"/>
                  <a:pt x="644" y="710"/>
                </a:cubicBezTo>
                <a:cubicBezTo>
                  <a:pt x="632" y="704"/>
                  <a:pt x="618" y="697"/>
                  <a:pt x="614" y="695"/>
                </a:cubicBezTo>
                <a:cubicBezTo>
                  <a:pt x="604" y="689"/>
                  <a:pt x="598" y="696"/>
                  <a:pt x="589" y="722"/>
                </a:cubicBezTo>
                <a:cubicBezTo>
                  <a:pt x="581" y="747"/>
                  <a:pt x="580" y="749"/>
                  <a:pt x="548" y="759"/>
                </a:cubicBezTo>
                <a:cubicBezTo>
                  <a:pt x="535" y="764"/>
                  <a:pt x="522" y="768"/>
                  <a:pt x="519" y="768"/>
                </a:cubicBezTo>
                <a:cubicBezTo>
                  <a:pt x="512" y="768"/>
                  <a:pt x="515" y="756"/>
                  <a:pt x="526" y="743"/>
                </a:cubicBezTo>
                <a:cubicBezTo>
                  <a:pt x="550" y="715"/>
                  <a:pt x="549" y="716"/>
                  <a:pt x="536" y="716"/>
                </a:cubicBezTo>
                <a:cubicBezTo>
                  <a:pt x="529" y="716"/>
                  <a:pt x="519" y="720"/>
                  <a:pt x="512" y="726"/>
                </a:cubicBezTo>
                <a:cubicBezTo>
                  <a:pt x="492" y="742"/>
                  <a:pt x="477" y="745"/>
                  <a:pt x="459" y="734"/>
                </a:cubicBezTo>
                <a:cubicBezTo>
                  <a:pt x="450" y="730"/>
                  <a:pt x="442" y="721"/>
                  <a:pt x="439" y="716"/>
                </a:cubicBezTo>
                <a:cubicBezTo>
                  <a:pt x="435" y="706"/>
                  <a:pt x="436" y="704"/>
                  <a:pt x="463" y="679"/>
                </a:cubicBezTo>
                <a:cubicBezTo>
                  <a:pt x="478" y="664"/>
                  <a:pt x="499" y="648"/>
                  <a:pt x="509" y="643"/>
                </a:cubicBezTo>
                <a:cubicBezTo>
                  <a:pt x="518" y="639"/>
                  <a:pt x="527" y="632"/>
                  <a:pt x="528" y="628"/>
                </a:cubicBezTo>
                <a:cubicBezTo>
                  <a:pt x="531" y="616"/>
                  <a:pt x="515" y="604"/>
                  <a:pt x="497" y="603"/>
                </a:cubicBezTo>
                <a:cubicBezTo>
                  <a:pt x="488" y="603"/>
                  <a:pt x="470" y="599"/>
                  <a:pt x="456" y="594"/>
                </a:cubicBezTo>
                <a:cubicBezTo>
                  <a:pt x="434" y="587"/>
                  <a:pt x="430" y="584"/>
                  <a:pt x="428" y="576"/>
                </a:cubicBezTo>
                <a:cubicBezTo>
                  <a:pt x="428" y="570"/>
                  <a:pt x="429" y="565"/>
                  <a:pt x="431" y="563"/>
                </a:cubicBezTo>
                <a:cubicBezTo>
                  <a:pt x="434" y="562"/>
                  <a:pt x="480" y="561"/>
                  <a:pt x="535" y="561"/>
                </a:cubicBezTo>
                <a:close/>
                <a:moveTo>
                  <a:pt x="671" y="1076"/>
                </a:moveTo>
                <a:cubicBezTo>
                  <a:pt x="672" y="1076"/>
                  <a:pt x="680" y="1084"/>
                  <a:pt x="687" y="1094"/>
                </a:cubicBezTo>
                <a:cubicBezTo>
                  <a:pt x="694" y="1104"/>
                  <a:pt x="706" y="1118"/>
                  <a:pt x="714" y="1125"/>
                </a:cubicBezTo>
                <a:cubicBezTo>
                  <a:pt x="736" y="1144"/>
                  <a:pt x="752" y="1162"/>
                  <a:pt x="762" y="1179"/>
                </a:cubicBezTo>
                <a:cubicBezTo>
                  <a:pt x="769" y="1192"/>
                  <a:pt x="774" y="1194"/>
                  <a:pt x="797" y="1200"/>
                </a:cubicBezTo>
                <a:cubicBezTo>
                  <a:pt x="822" y="1206"/>
                  <a:pt x="825" y="1206"/>
                  <a:pt x="847" y="1200"/>
                </a:cubicBezTo>
                <a:cubicBezTo>
                  <a:pt x="863" y="1196"/>
                  <a:pt x="873" y="1190"/>
                  <a:pt x="879" y="1182"/>
                </a:cubicBezTo>
                <a:cubicBezTo>
                  <a:pt x="891" y="1167"/>
                  <a:pt x="906" y="1160"/>
                  <a:pt x="932" y="1159"/>
                </a:cubicBezTo>
                <a:cubicBezTo>
                  <a:pt x="953" y="1158"/>
                  <a:pt x="953" y="1158"/>
                  <a:pt x="952" y="1169"/>
                </a:cubicBezTo>
                <a:cubicBezTo>
                  <a:pt x="951" y="1185"/>
                  <a:pt x="935" y="1203"/>
                  <a:pt x="918" y="1208"/>
                </a:cubicBezTo>
                <a:cubicBezTo>
                  <a:pt x="910" y="1210"/>
                  <a:pt x="895" y="1219"/>
                  <a:pt x="886" y="1228"/>
                </a:cubicBezTo>
                <a:cubicBezTo>
                  <a:pt x="877" y="1237"/>
                  <a:pt x="857" y="1250"/>
                  <a:pt x="843" y="1256"/>
                </a:cubicBezTo>
                <a:cubicBezTo>
                  <a:pt x="829" y="1263"/>
                  <a:pt x="810" y="1272"/>
                  <a:pt x="802" y="1276"/>
                </a:cubicBezTo>
                <a:cubicBezTo>
                  <a:pt x="793" y="1281"/>
                  <a:pt x="782" y="1284"/>
                  <a:pt x="777" y="1282"/>
                </a:cubicBezTo>
                <a:cubicBezTo>
                  <a:pt x="769" y="1281"/>
                  <a:pt x="763" y="1284"/>
                  <a:pt x="754" y="1292"/>
                </a:cubicBezTo>
                <a:cubicBezTo>
                  <a:pt x="747" y="1298"/>
                  <a:pt x="734" y="1305"/>
                  <a:pt x="726" y="1309"/>
                </a:cubicBezTo>
                <a:cubicBezTo>
                  <a:pt x="717" y="1313"/>
                  <a:pt x="705" y="1315"/>
                  <a:pt x="700" y="1315"/>
                </a:cubicBezTo>
                <a:cubicBezTo>
                  <a:pt x="626" y="1308"/>
                  <a:pt x="619" y="1306"/>
                  <a:pt x="584" y="1273"/>
                </a:cubicBezTo>
                <a:cubicBezTo>
                  <a:pt x="552" y="1243"/>
                  <a:pt x="552" y="1236"/>
                  <a:pt x="585" y="1236"/>
                </a:cubicBezTo>
                <a:cubicBezTo>
                  <a:pt x="598" y="1236"/>
                  <a:pt x="611" y="1237"/>
                  <a:pt x="615" y="1240"/>
                </a:cubicBezTo>
                <a:cubicBezTo>
                  <a:pt x="624" y="1245"/>
                  <a:pt x="635" y="1240"/>
                  <a:pt x="652" y="1224"/>
                </a:cubicBezTo>
                <a:cubicBezTo>
                  <a:pt x="661" y="1216"/>
                  <a:pt x="667" y="1214"/>
                  <a:pt x="679" y="1215"/>
                </a:cubicBezTo>
                <a:cubicBezTo>
                  <a:pt x="698" y="1216"/>
                  <a:pt x="707" y="1211"/>
                  <a:pt x="707" y="1198"/>
                </a:cubicBezTo>
                <a:cubicBezTo>
                  <a:pt x="707" y="1186"/>
                  <a:pt x="691" y="1139"/>
                  <a:pt x="676" y="1109"/>
                </a:cubicBezTo>
                <a:cubicBezTo>
                  <a:pt x="665" y="1087"/>
                  <a:pt x="664" y="1076"/>
                  <a:pt x="671" y="1076"/>
                </a:cubicBezTo>
                <a:close/>
              </a:path>
            </a:pathLst>
          </a:custGeom>
          <a:solidFill>
            <a:srgbClr val="D3D3D3"/>
          </a:solidFill>
          <a:ln w="22225" cap="flat">
            <a:solidFill>
              <a:srgbClr val="D3D3D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45" name="Freeform 20"/>
          <p:cNvSpPr>
            <a:spLocks/>
          </p:cNvSpPr>
          <p:nvPr userDrawn="1"/>
        </p:nvSpPr>
        <p:spPr bwMode="grayWhite">
          <a:xfrm>
            <a:off x="2386968" y="-2798874"/>
            <a:ext cx="541339" cy="639763"/>
          </a:xfrm>
          <a:custGeom>
            <a:avLst/>
            <a:gdLst>
              <a:gd name="T0" fmla="*/ 230 w 376"/>
              <a:gd name="T1" fmla="*/ 432 h 446"/>
              <a:gd name="T2" fmla="*/ 130 w 376"/>
              <a:gd name="T3" fmla="*/ 403 h 446"/>
              <a:gd name="T4" fmla="*/ 50 w 376"/>
              <a:gd name="T5" fmla="*/ 380 h 446"/>
              <a:gd name="T6" fmla="*/ 32 w 376"/>
              <a:gd name="T7" fmla="*/ 368 h 446"/>
              <a:gd name="T8" fmla="*/ 90 w 376"/>
              <a:gd name="T9" fmla="*/ 368 h 446"/>
              <a:gd name="T10" fmla="*/ 152 w 376"/>
              <a:gd name="T11" fmla="*/ 379 h 446"/>
              <a:gd name="T12" fmla="*/ 223 w 376"/>
              <a:gd name="T13" fmla="*/ 399 h 446"/>
              <a:gd name="T14" fmla="*/ 200 w 376"/>
              <a:gd name="T15" fmla="*/ 375 h 446"/>
              <a:gd name="T16" fmla="*/ 137 w 376"/>
              <a:gd name="T17" fmla="*/ 340 h 446"/>
              <a:gd name="T18" fmla="*/ 35 w 376"/>
              <a:gd name="T19" fmla="*/ 314 h 446"/>
              <a:gd name="T20" fmla="*/ 8 w 376"/>
              <a:gd name="T21" fmla="*/ 282 h 446"/>
              <a:gd name="T22" fmla="*/ 0 w 376"/>
              <a:gd name="T23" fmla="*/ 254 h 446"/>
              <a:gd name="T24" fmla="*/ 72 w 376"/>
              <a:gd name="T25" fmla="*/ 228 h 446"/>
              <a:gd name="T26" fmla="*/ 90 w 376"/>
              <a:gd name="T27" fmla="*/ 223 h 446"/>
              <a:gd name="T28" fmla="*/ 76 w 376"/>
              <a:gd name="T29" fmla="*/ 220 h 446"/>
              <a:gd name="T30" fmla="*/ 51 w 376"/>
              <a:gd name="T31" fmla="*/ 216 h 446"/>
              <a:gd name="T32" fmla="*/ 30 w 376"/>
              <a:gd name="T33" fmla="*/ 186 h 446"/>
              <a:gd name="T34" fmla="*/ 27 w 376"/>
              <a:gd name="T35" fmla="*/ 178 h 446"/>
              <a:gd name="T36" fmla="*/ 15 w 376"/>
              <a:gd name="T37" fmla="*/ 163 h 446"/>
              <a:gd name="T38" fmla="*/ 26 w 376"/>
              <a:gd name="T39" fmla="*/ 116 h 446"/>
              <a:gd name="T40" fmla="*/ 48 w 376"/>
              <a:gd name="T41" fmla="*/ 78 h 446"/>
              <a:gd name="T42" fmla="*/ 167 w 376"/>
              <a:gd name="T43" fmla="*/ 13 h 446"/>
              <a:gd name="T44" fmla="*/ 225 w 376"/>
              <a:gd name="T45" fmla="*/ 2 h 446"/>
              <a:gd name="T46" fmla="*/ 247 w 376"/>
              <a:gd name="T47" fmla="*/ 12 h 446"/>
              <a:gd name="T48" fmla="*/ 236 w 376"/>
              <a:gd name="T49" fmla="*/ 73 h 446"/>
              <a:gd name="T50" fmla="*/ 230 w 376"/>
              <a:gd name="T51" fmla="*/ 91 h 446"/>
              <a:gd name="T52" fmla="*/ 250 w 376"/>
              <a:gd name="T53" fmla="*/ 79 h 446"/>
              <a:gd name="T54" fmla="*/ 268 w 376"/>
              <a:gd name="T55" fmla="*/ 64 h 446"/>
              <a:gd name="T56" fmla="*/ 293 w 376"/>
              <a:gd name="T57" fmla="*/ 78 h 446"/>
              <a:gd name="T58" fmla="*/ 328 w 376"/>
              <a:gd name="T59" fmla="*/ 101 h 446"/>
              <a:gd name="T60" fmla="*/ 338 w 376"/>
              <a:gd name="T61" fmla="*/ 109 h 446"/>
              <a:gd name="T62" fmla="*/ 329 w 376"/>
              <a:gd name="T63" fmla="*/ 128 h 446"/>
              <a:gd name="T64" fmla="*/ 321 w 376"/>
              <a:gd name="T65" fmla="*/ 147 h 446"/>
              <a:gd name="T66" fmla="*/ 338 w 376"/>
              <a:gd name="T67" fmla="*/ 144 h 446"/>
              <a:gd name="T68" fmla="*/ 357 w 376"/>
              <a:gd name="T69" fmla="*/ 137 h 446"/>
              <a:gd name="T70" fmla="*/ 354 w 376"/>
              <a:gd name="T71" fmla="*/ 117 h 446"/>
              <a:gd name="T72" fmla="*/ 349 w 376"/>
              <a:gd name="T73" fmla="*/ 99 h 446"/>
              <a:gd name="T74" fmla="*/ 374 w 376"/>
              <a:gd name="T75" fmla="*/ 88 h 446"/>
              <a:gd name="T76" fmla="*/ 285 w 376"/>
              <a:gd name="T77" fmla="*/ 445 h 446"/>
              <a:gd name="T78" fmla="*/ 230 w 376"/>
              <a:gd name="T79" fmla="*/ 432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76" h="446">
                <a:moveTo>
                  <a:pt x="230" y="432"/>
                </a:moveTo>
                <a:cubicBezTo>
                  <a:pt x="202" y="424"/>
                  <a:pt x="157" y="411"/>
                  <a:pt x="130" y="403"/>
                </a:cubicBezTo>
                <a:cubicBezTo>
                  <a:pt x="104" y="395"/>
                  <a:pt x="68" y="385"/>
                  <a:pt x="50" y="380"/>
                </a:cubicBezTo>
                <a:cubicBezTo>
                  <a:pt x="20" y="371"/>
                  <a:pt x="19" y="370"/>
                  <a:pt x="32" y="368"/>
                </a:cubicBezTo>
                <a:cubicBezTo>
                  <a:pt x="40" y="367"/>
                  <a:pt x="66" y="367"/>
                  <a:pt x="90" y="368"/>
                </a:cubicBezTo>
                <a:cubicBezTo>
                  <a:pt x="126" y="369"/>
                  <a:pt x="138" y="371"/>
                  <a:pt x="152" y="379"/>
                </a:cubicBezTo>
                <a:cubicBezTo>
                  <a:pt x="171" y="388"/>
                  <a:pt x="220" y="402"/>
                  <a:pt x="223" y="399"/>
                </a:cubicBezTo>
                <a:cubicBezTo>
                  <a:pt x="223" y="399"/>
                  <a:pt x="213" y="388"/>
                  <a:pt x="200" y="375"/>
                </a:cubicBezTo>
                <a:cubicBezTo>
                  <a:pt x="175" y="351"/>
                  <a:pt x="156" y="341"/>
                  <a:pt x="137" y="340"/>
                </a:cubicBezTo>
                <a:cubicBezTo>
                  <a:pt x="123" y="340"/>
                  <a:pt x="60" y="324"/>
                  <a:pt x="35" y="314"/>
                </a:cubicBezTo>
                <a:cubicBezTo>
                  <a:pt x="16" y="306"/>
                  <a:pt x="15" y="305"/>
                  <a:pt x="8" y="282"/>
                </a:cubicBezTo>
                <a:cubicBezTo>
                  <a:pt x="4" y="269"/>
                  <a:pt x="0" y="256"/>
                  <a:pt x="0" y="254"/>
                </a:cubicBezTo>
                <a:cubicBezTo>
                  <a:pt x="0" y="249"/>
                  <a:pt x="19" y="243"/>
                  <a:pt x="72" y="228"/>
                </a:cubicBezTo>
                <a:cubicBezTo>
                  <a:pt x="90" y="223"/>
                  <a:pt x="90" y="223"/>
                  <a:pt x="90" y="223"/>
                </a:cubicBezTo>
                <a:cubicBezTo>
                  <a:pt x="76" y="220"/>
                  <a:pt x="76" y="220"/>
                  <a:pt x="76" y="220"/>
                </a:cubicBezTo>
                <a:cubicBezTo>
                  <a:pt x="68" y="218"/>
                  <a:pt x="57" y="216"/>
                  <a:pt x="51" y="216"/>
                </a:cubicBezTo>
                <a:cubicBezTo>
                  <a:pt x="39" y="215"/>
                  <a:pt x="26" y="197"/>
                  <a:pt x="30" y="186"/>
                </a:cubicBezTo>
                <a:cubicBezTo>
                  <a:pt x="31" y="183"/>
                  <a:pt x="30" y="179"/>
                  <a:pt x="27" y="178"/>
                </a:cubicBezTo>
                <a:cubicBezTo>
                  <a:pt x="24" y="176"/>
                  <a:pt x="19" y="169"/>
                  <a:pt x="15" y="163"/>
                </a:cubicBezTo>
                <a:cubicBezTo>
                  <a:pt x="5" y="148"/>
                  <a:pt x="9" y="134"/>
                  <a:pt x="26" y="116"/>
                </a:cubicBezTo>
                <a:cubicBezTo>
                  <a:pt x="42" y="99"/>
                  <a:pt x="48" y="88"/>
                  <a:pt x="48" y="78"/>
                </a:cubicBezTo>
                <a:cubicBezTo>
                  <a:pt x="48" y="57"/>
                  <a:pt x="107" y="25"/>
                  <a:pt x="167" y="13"/>
                </a:cubicBezTo>
                <a:cubicBezTo>
                  <a:pt x="188" y="9"/>
                  <a:pt x="214" y="4"/>
                  <a:pt x="225" y="2"/>
                </a:cubicBezTo>
                <a:cubicBezTo>
                  <a:pt x="242" y="0"/>
                  <a:pt x="243" y="0"/>
                  <a:pt x="247" y="12"/>
                </a:cubicBezTo>
                <a:cubicBezTo>
                  <a:pt x="252" y="26"/>
                  <a:pt x="248" y="49"/>
                  <a:pt x="236" y="73"/>
                </a:cubicBezTo>
                <a:cubicBezTo>
                  <a:pt x="231" y="82"/>
                  <a:pt x="228" y="90"/>
                  <a:pt x="230" y="91"/>
                </a:cubicBezTo>
                <a:cubicBezTo>
                  <a:pt x="231" y="93"/>
                  <a:pt x="240" y="87"/>
                  <a:pt x="250" y="79"/>
                </a:cubicBezTo>
                <a:cubicBezTo>
                  <a:pt x="268" y="64"/>
                  <a:pt x="268" y="64"/>
                  <a:pt x="268" y="64"/>
                </a:cubicBezTo>
                <a:cubicBezTo>
                  <a:pt x="293" y="78"/>
                  <a:pt x="293" y="78"/>
                  <a:pt x="293" y="78"/>
                </a:cubicBezTo>
                <a:cubicBezTo>
                  <a:pt x="307" y="86"/>
                  <a:pt x="322" y="96"/>
                  <a:pt x="328" y="101"/>
                </a:cubicBezTo>
                <a:cubicBezTo>
                  <a:pt x="338" y="109"/>
                  <a:pt x="338" y="109"/>
                  <a:pt x="338" y="109"/>
                </a:cubicBezTo>
                <a:cubicBezTo>
                  <a:pt x="329" y="128"/>
                  <a:pt x="329" y="128"/>
                  <a:pt x="329" y="128"/>
                </a:cubicBezTo>
                <a:cubicBezTo>
                  <a:pt x="321" y="147"/>
                  <a:pt x="321" y="147"/>
                  <a:pt x="321" y="147"/>
                </a:cubicBezTo>
                <a:cubicBezTo>
                  <a:pt x="338" y="144"/>
                  <a:pt x="338" y="144"/>
                  <a:pt x="338" y="144"/>
                </a:cubicBezTo>
                <a:cubicBezTo>
                  <a:pt x="347" y="142"/>
                  <a:pt x="355" y="139"/>
                  <a:pt x="357" y="137"/>
                </a:cubicBezTo>
                <a:cubicBezTo>
                  <a:pt x="358" y="136"/>
                  <a:pt x="357" y="127"/>
                  <a:pt x="354" y="117"/>
                </a:cubicBezTo>
                <a:cubicBezTo>
                  <a:pt x="350" y="108"/>
                  <a:pt x="348" y="99"/>
                  <a:pt x="349" y="99"/>
                </a:cubicBezTo>
                <a:cubicBezTo>
                  <a:pt x="366" y="88"/>
                  <a:pt x="372" y="85"/>
                  <a:pt x="374" y="88"/>
                </a:cubicBezTo>
                <a:cubicBezTo>
                  <a:pt x="376" y="91"/>
                  <a:pt x="289" y="441"/>
                  <a:pt x="285" y="445"/>
                </a:cubicBezTo>
                <a:cubicBezTo>
                  <a:pt x="283" y="446"/>
                  <a:pt x="259" y="441"/>
                  <a:pt x="230" y="432"/>
                </a:cubicBezTo>
                <a:close/>
              </a:path>
            </a:pathLst>
          </a:custGeom>
          <a:solidFill>
            <a:srgbClr val="D3D3D3"/>
          </a:solidFill>
          <a:ln w="22225" cap="flat">
            <a:solidFill>
              <a:srgbClr val="D3D3D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46" name="Freeform 21"/>
          <p:cNvSpPr>
            <a:spLocks/>
          </p:cNvSpPr>
          <p:nvPr userDrawn="1"/>
        </p:nvSpPr>
        <p:spPr bwMode="grayWhite">
          <a:xfrm>
            <a:off x="2071056" y="-3159236"/>
            <a:ext cx="623888" cy="614363"/>
          </a:xfrm>
          <a:custGeom>
            <a:avLst/>
            <a:gdLst>
              <a:gd name="T0" fmla="*/ 54 w 434"/>
              <a:gd name="T1" fmla="*/ 423 h 428"/>
              <a:gd name="T2" fmla="*/ 49 w 434"/>
              <a:gd name="T3" fmla="*/ 383 h 428"/>
              <a:gd name="T4" fmla="*/ 22 w 434"/>
              <a:gd name="T5" fmla="*/ 312 h 428"/>
              <a:gd name="T6" fmla="*/ 0 w 434"/>
              <a:gd name="T7" fmla="*/ 270 h 428"/>
              <a:gd name="T8" fmla="*/ 24 w 434"/>
              <a:gd name="T9" fmla="*/ 243 h 428"/>
              <a:gd name="T10" fmla="*/ 56 w 434"/>
              <a:gd name="T11" fmla="*/ 201 h 428"/>
              <a:gd name="T12" fmla="*/ 86 w 434"/>
              <a:gd name="T13" fmla="*/ 158 h 428"/>
              <a:gd name="T14" fmla="*/ 123 w 434"/>
              <a:gd name="T15" fmla="*/ 110 h 428"/>
              <a:gd name="T16" fmla="*/ 153 w 434"/>
              <a:gd name="T17" fmla="*/ 48 h 428"/>
              <a:gd name="T18" fmla="*/ 152 w 434"/>
              <a:gd name="T19" fmla="*/ 20 h 428"/>
              <a:gd name="T20" fmla="*/ 170 w 434"/>
              <a:gd name="T21" fmla="*/ 2 h 428"/>
              <a:gd name="T22" fmla="*/ 189 w 434"/>
              <a:gd name="T23" fmla="*/ 5 h 428"/>
              <a:gd name="T24" fmla="*/ 225 w 434"/>
              <a:gd name="T25" fmla="*/ 15 h 428"/>
              <a:gd name="T26" fmla="*/ 263 w 434"/>
              <a:gd name="T27" fmla="*/ 28 h 428"/>
              <a:gd name="T28" fmla="*/ 284 w 434"/>
              <a:gd name="T29" fmla="*/ 45 h 428"/>
              <a:gd name="T30" fmla="*/ 310 w 434"/>
              <a:gd name="T31" fmla="*/ 79 h 428"/>
              <a:gd name="T32" fmla="*/ 355 w 434"/>
              <a:gd name="T33" fmla="*/ 101 h 428"/>
              <a:gd name="T34" fmla="*/ 411 w 434"/>
              <a:gd name="T35" fmla="*/ 162 h 428"/>
              <a:gd name="T36" fmla="*/ 371 w 434"/>
              <a:gd name="T37" fmla="*/ 256 h 428"/>
              <a:gd name="T38" fmla="*/ 308 w 434"/>
              <a:gd name="T39" fmla="*/ 284 h 428"/>
              <a:gd name="T40" fmla="*/ 294 w 434"/>
              <a:gd name="T41" fmla="*/ 291 h 428"/>
              <a:gd name="T42" fmla="*/ 272 w 434"/>
              <a:gd name="T43" fmla="*/ 305 h 428"/>
              <a:gd name="T44" fmla="*/ 235 w 434"/>
              <a:gd name="T45" fmla="*/ 334 h 428"/>
              <a:gd name="T46" fmla="*/ 194 w 434"/>
              <a:gd name="T47" fmla="*/ 381 h 428"/>
              <a:gd name="T48" fmla="*/ 171 w 434"/>
              <a:gd name="T49" fmla="*/ 412 h 428"/>
              <a:gd name="T50" fmla="*/ 162 w 434"/>
              <a:gd name="T51" fmla="*/ 416 h 428"/>
              <a:gd name="T52" fmla="*/ 128 w 434"/>
              <a:gd name="T53" fmla="*/ 422 h 428"/>
              <a:gd name="T54" fmla="*/ 87 w 434"/>
              <a:gd name="T55" fmla="*/ 426 h 428"/>
              <a:gd name="T56" fmla="*/ 54 w 434"/>
              <a:gd name="T57" fmla="*/ 423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34" h="428">
                <a:moveTo>
                  <a:pt x="54" y="423"/>
                </a:moveTo>
                <a:cubicBezTo>
                  <a:pt x="53" y="420"/>
                  <a:pt x="51" y="402"/>
                  <a:pt x="49" y="383"/>
                </a:cubicBezTo>
                <a:cubicBezTo>
                  <a:pt x="45" y="352"/>
                  <a:pt x="43" y="345"/>
                  <a:pt x="22" y="312"/>
                </a:cubicBezTo>
                <a:cubicBezTo>
                  <a:pt x="10" y="291"/>
                  <a:pt x="0" y="273"/>
                  <a:pt x="0" y="270"/>
                </a:cubicBezTo>
                <a:cubicBezTo>
                  <a:pt x="0" y="264"/>
                  <a:pt x="12" y="250"/>
                  <a:pt x="24" y="243"/>
                </a:cubicBezTo>
                <a:cubicBezTo>
                  <a:pt x="30" y="239"/>
                  <a:pt x="44" y="220"/>
                  <a:pt x="56" y="201"/>
                </a:cubicBezTo>
                <a:cubicBezTo>
                  <a:pt x="68" y="181"/>
                  <a:pt x="81" y="162"/>
                  <a:pt x="86" y="158"/>
                </a:cubicBezTo>
                <a:cubicBezTo>
                  <a:pt x="90" y="153"/>
                  <a:pt x="106" y="132"/>
                  <a:pt x="123" y="110"/>
                </a:cubicBezTo>
                <a:cubicBezTo>
                  <a:pt x="151" y="73"/>
                  <a:pt x="152" y="70"/>
                  <a:pt x="153" y="48"/>
                </a:cubicBezTo>
                <a:cubicBezTo>
                  <a:pt x="153" y="36"/>
                  <a:pt x="153" y="23"/>
                  <a:pt x="152" y="20"/>
                </a:cubicBezTo>
                <a:cubicBezTo>
                  <a:pt x="151" y="13"/>
                  <a:pt x="164" y="0"/>
                  <a:pt x="170" y="2"/>
                </a:cubicBezTo>
                <a:cubicBezTo>
                  <a:pt x="172" y="2"/>
                  <a:pt x="181" y="4"/>
                  <a:pt x="189" y="5"/>
                </a:cubicBezTo>
                <a:cubicBezTo>
                  <a:pt x="197" y="6"/>
                  <a:pt x="213" y="10"/>
                  <a:pt x="225" y="15"/>
                </a:cubicBezTo>
                <a:cubicBezTo>
                  <a:pt x="237" y="20"/>
                  <a:pt x="254" y="25"/>
                  <a:pt x="263" y="28"/>
                </a:cubicBezTo>
                <a:cubicBezTo>
                  <a:pt x="277" y="31"/>
                  <a:pt x="280" y="34"/>
                  <a:pt x="284" y="45"/>
                </a:cubicBezTo>
                <a:cubicBezTo>
                  <a:pt x="286" y="52"/>
                  <a:pt x="298" y="67"/>
                  <a:pt x="310" y="79"/>
                </a:cubicBezTo>
                <a:cubicBezTo>
                  <a:pt x="331" y="101"/>
                  <a:pt x="332" y="101"/>
                  <a:pt x="355" y="101"/>
                </a:cubicBezTo>
                <a:cubicBezTo>
                  <a:pt x="387" y="100"/>
                  <a:pt x="392" y="105"/>
                  <a:pt x="411" y="162"/>
                </a:cubicBezTo>
                <a:cubicBezTo>
                  <a:pt x="434" y="234"/>
                  <a:pt x="431" y="242"/>
                  <a:pt x="371" y="256"/>
                </a:cubicBezTo>
                <a:cubicBezTo>
                  <a:pt x="343" y="263"/>
                  <a:pt x="315" y="275"/>
                  <a:pt x="308" y="284"/>
                </a:cubicBezTo>
                <a:cubicBezTo>
                  <a:pt x="307" y="285"/>
                  <a:pt x="301" y="288"/>
                  <a:pt x="294" y="291"/>
                </a:cubicBezTo>
                <a:cubicBezTo>
                  <a:pt x="287" y="294"/>
                  <a:pt x="277" y="300"/>
                  <a:pt x="272" y="305"/>
                </a:cubicBezTo>
                <a:cubicBezTo>
                  <a:pt x="267" y="310"/>
                  <a:pt x="250" y="323"/>
                  <a:pt x="235" y="334"/>
                </a:cubicBezTo>
                <a:cubicBezTo>
                  <a:pt x="214" y="350"/>
                  <a:pt x="205" y="359"/>
                  <a:pt x="194" y="381"/>
                </a:cubicBezTo>
                <a:cubicBezTo>
                  <a:pt x="186" y="395"/>
                  <a:pt x="176" y="410"/>
                  <a:pt x="171" y="412"/>
                </a:cubicBezTo>
                <a:cubicBezTo>
                  <a:pt x="166" y="415"/>
                  <a:pt x="162" y="416"/>
                  <a:pt x="162" y="416"/>
                </a:cubicBezTo>
                <a:cubicBezTo>
                  <a:pt x="162" y="415"/>
                  <a:pt x="157" y="415"/>
                  <a:pt x="128" y="422"/>
                </a:cubicBezTo>
                <a:cubicBezTo>
                  <a:pt x="123" y="423"/>
                  <a:pt x="104" y="425"/>
                  <a:pt x="87" y="426"/>
                </a:cubicBezTo>
                <a:cubicBezTo>
                  <a:pt x="63" y="428"/>
                  <a:pt x="56" y="427"/>
                  <a:pt x="54" y="423"/>
                </a:cubicBezTo>
                <a:close/>
              </a:path>
            </a:pathLst>
          </a:custGeom>
          <a:solidFill>
            <a:srgbClr val="D3D3D3"/>
          </a:solidFill>
          <a:ln w="22225" cap="flat">
            <a:solidFill>
              <a:srgbClr val="D3D3D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47" name="Freeform 22"/>
          <p:cNvSpPr>
            <a:spLocks/>
          </p:cNvSpPr>
          <p:nvPr userDrawn="1"/>
        </p:nvSpPr>
        <p:spPr bwMode="grayWhite">
          <a:xfrm>
            <a:off x="2679068" y="-3378312"/>
            <a:ext cx="363539" cy="425451"/>
          </a:xfrm>
          <a:custGeom>
            <a:avLst/>
            <a:gdLst>
              <a:gd name="T0" fmla="*/ 96 w 253"/>
              <a:gd name="T1" fmla="*/ 275 h 296"/>
              <a:gd name="T2" fmla="*/ 77 w 253"/>
              <a:gd name="T3" fmla="*/ 248 h 296"/>
              <a:gd name="T4" fmla="*/ 118 w 253"/>
              <a:gd name="T5" fmla="*/ 223 h 296"/>
              <a:gd name="T6" fmla="*/ 138 w 253"/>
              <a:gd name="T7" fmla="*/ 202 h 296"/>
              <a:gd name="T8" fmla="*/ 113 w 253"/>
              <a:gd name="T9" fmla="*/ 192 h 296"/>
              <a:gd name="T10" fmla="*/ 98 w 253"/>
              <a:gd name="T11" fmla="*/ 189 h 296"/>
              <a:gd name="T12" fmla="*/ 54 w 253"/>
              <a:gd name="T13" fmla="*/ 194 h 296"/>
              <a:gd name="T14" fmla="*/ 3 w 253"/>
              <a:gd name="T15" fmla="*/ 132 h 296"/>
              <a:gd name="T16" fmla="*/ 20 w 253"/>
              <a:gd name="T17" fmla="*/ 108 h 296"/>
              <a:gd name="T18" fmla="*/ 25 w 253"/>
              <a:gd name="T19" fmla="*/ 105 h 296"/>
              <a:gd name="T20" fmla="*/ 39 w 253"/>
              <a:gd name="T21" fmla="*/ 76 h 296"/>
              <a:gd name="T22" fmla="*/ 49 w 253"/>
              <a:gd name="T23" fmla="*/ 57 h 296"/>
              <a:gd name="T24" fmla="*/ 81 w 253"/>
              <a:gd name="T25" fmla="*/ 20 h 296"/>
              <a:gd name="T26" fmla="*/ 95 w 253"/>
              <a:gd name="T27" fmla="*/ 10 h 296"/>
              <a:gd name="T28" fmla="*/ 121 w 253"/>
              <a:gd name="T29" fmla="*/ 0 h 296"/>
              <a:gd name="T30" fmla="*/ 161 w 253"/>
              <a:gd name="T31" fmla="*/ 30 h 296"/>
              <a:gd name="T32" fmla="*/ 176 w 253"/>
              <a:gd name="T33" fmla="*/ 54 h 296"/>
              <a:gd name="T34" fmla="*/ 207 w 253"/>
              <a:gd name="T35" fmla="*/ 119 h 296"/>
              <a:gd name="T36" fmla="*/ 233 w 253"/>
              <a:gd name="T37" fmla="*/ 156 h 296"/>
              <a:gd name="T38" fmla="*/ 240 w 253"/>
              <a:gd name="T39" fmla="*/ 213 h 296"/>
              <a:gd name="T40" fmla="*/ 221 w 253"/>
              <a:gd name="T41" fmla="*/ 264 h 296"/>
              <a:gd name="T42" fmla="*/ 193 w 253"/>
              <a:gd name="T43" fmla="*/ 280 h 296"/>
              <a:gd name="T44" fmla="*/ 142 w 253"/>
              <a:gd name="T45" fmla="*/ 296 h 296"/>
              <a:gd name="T46" fmla="*/ 114 w 253"/>
              <a:gd name="T47" fmla="*/ 296 h 296"/>
              <a:gd name="T48" fmla="*/ 96 w 253"/>
              <a:gd name="T49" fmla="*/ 275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3" h="296">
                <a:moveTo>
                  <a:pt x="96" y="275"/>
                </a:moveTo>
                <a:cubicBezTo>
                  <a:pt x="85" y="264"/>
                  <a:pt x="77" y="252"/>
                  <a:pt x="77" y="248"/>
                </a:cubicBezTo>
                <a:cubicBezTo>
                  <a:pt x="77" y="238"/>
                  <a:pt x="93" y="228"/>
                  <a:pt x="118" y="223"/>
                </a:cubicBezTo>
                <a:cubicBezTo>
                  <a:pt x="159" y="215"/>
                  <a:pt x="170" y="202"/>
                  <a:pt x="138" y="202"/>
                </a:cubicBezTo>
                <a:cubicBezTo>
                  <a:pt x="124" y="202"/>
                  <a:pt x="119" y="199"/>
                  <a:pt x="113" y="192"/>
                </a:cubicBezTo>
                <a:cubicBezTo>
                  <a:pt x="106" y="182"/>
                  <a:pt x="105" y="182"/>
                  <a:pt x="98" y="189"/>
                </a:cubicBezTo>
                <a:cubicBezTo>
                  <a:pt x="88" y="197"/>
                  <a:pt x="65" y="200"/>
                  <a:pt x="54" y="194"/>
                </a:cubicBezTo>
                <a:cubicBezTo>
                  <a:pt x="43" y="188"/>
                  <a:pt x="5" y="143"/>
                  <a:pt x="3" y="132"/>
                </a:cubicBezTo>
                <a:cubicBezTo>
                  <a:pt x="0" y="122"/>
                  <a:pt x="10" y="108"/>
                  <a:pt x="20" y="108"/>
                </a:cubicBezTo>
                <a:cubicBezTo>
                  <a:pt x="23" y="108"/>
                  <a:pt x="25" y="106"/>
                  <a:pt x="25" y="105"/>
                </a:cubicBezTo>
                <a:cubicBezTo>
                  <a:pt x="27" y="92"/>
                  <a:pt x="30" y="85"/>
                  <a:pt x="39" y="76"/>
                </a:cubicBezTo>
                <a:cubicBezTo>
                  <a:pt x="45" y="70"/>
                  <a:pt x="49" y="62"/>
                  <a:pt x="49" y="57"/>
                </a:cubicBezTo>
                <a:cubicBezTo>
                  <a:pt x="49" y="47"/>
                  <a:pt x="72" y="20"/>
                  <a:pt x="81" y="20"/>
                </a:cubicBezTo>
                <a:cubicBezTo>
                  <a:pt x="85" y="20"/>
                  <a:pt x="91" y="15"/>
                  <a:pt x="95" y="10"/>
                </a:cubicBezTo>
                <a:cubicBezTo>
                  <a:pt x="100" y="1"/>
                  <a:pt x="104" y="0"/>
                  <a:pt x="121" y="0"/>
                </a:cubicBezTo>
                <a:cubicBezTo>
                  <a:pt x="146" y="0"/>
                  <a:pt x="161" y="11"/>
                  <a:pt x="161" y="30"/>
                </a:cubicBezTo>
                <a:cubicBezTo>
                  <a:pt x="161" y="41"/>
                  <a:pt x="164" y="45"/>
                  <a:pt x="176" y="54"/>
                </a:cubicBezTo>
                <a:cubicBezTo>
                  <a:pt x="197" y="67"/>
                  <a:pt x="206" y="87"/>
                  <a:pt x="207" y="119"/>
                </a:cubicBezTo>
                <a:cubicBezTo>
                  <a:pt x="208" y="147"/>
                  <a:pt x="214" y="156"/>
                  <a:pt x="233" y="156"/>
                </a:cubicBezTo>
                <a:cubicBezTo>
                  <a:pt x="253" y="156"/>
                  <a:pt x="253" y="158"/>
                  <a:pt x="240" y="213"/>
                </a:cubicBezTo>
                <a:cubicBezTo>
                  <a:pt x="231" y="250"/>
                  <a:pt x="226" y="264"/>
                  <a:pt x="221" y="264"/>
                </a:cubicBezTo>
                <a:cubicBezTo>
                  <a:pt x="218" y="264"/>
                  <a:pt x="205" y="271"/>
                  <a:pt x="193" y="280"/>
                </a:cubicBezTo>
                <a:cubicBezTo>
                  <a:pt x="171" y="295"/>
                  <a:pt x="168" y="296"/>
                  <a:pt x="142" y="296"/>
                </a:cubicBezTo>
                <a:cubicBezTo>
                  <a:pt x="114" y="296"/>
                  <a:pt x="114" y="296"/>
                  <a:pt x="114" y="296"/>
                </a:cubicBezTo>
                <a:lnTo>
                  <a:pt x="96" y="275"/>
                </a:lnTo>
                <a:close/>
              </a:path>
            </a:pathLst>
          </a:custGeom>
          <a:solidFill>
            <a:srgbClr val="D3D3D3"/>
          </a:solidFill>
          <a:ln w="22225" cap="flat">
            <a:solidFill>
              <a:srgbClr val="D3D3D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48" name="Freeform 23"/>
          <p:cNvSpPr>
            <a:spLocks/>
          </p:cNvSpPr>
          <p:nvPr userDrawn="1"/>
        </p:nvSpPr>
        <p:spPr bwMode="grayWhite">
          <a:xfrm>
            <a:off x="2615568" y="-3341799"/>
            <a:ext cx="125413" cy="106363"/>
          </a:xfrm>
          <a:custGeom>
            <a:avLst/>
            <a:gdLst>
              <a:gd name="T0" fmla="*/ 16 w 87"/>
              <a:gd name="T1" fmla="*/ 72 h 74"/>
              <a:gd name="T2" fmla="*/ 5 w 87"/>
              <a:gd name="T3" fmla="*/ 55 h 74"/>
              <a:gd name="T4" fmla="*/ 39 w 87"/>
              <a:gd name="T5" fmla="*/ 12 h 74"/>
              <a:gd name="T6" fmla="*/ 80 w 87"/>
              <a:gd name="T7" fmla="*/ 8 h 74"/>
              <a:gd name="T8" fmla="*/ 70 w 87"/>
              <a:gd name="T9" fmla="*/ 38 h 74"/>
              <a:gd name="T10" fmla="*/ 42 w 87"/>
              <a:gd name="T11" fmla="*/ 62 h 74"/>
              <a:gd name="T12" fmla="*/ 25 w 87"/>
              <a:gd name="T13" fmla="*/ 74 h 74"/>
              <a:gd name="T14" fmla="*/ 16 w 87"/>
              <a:gd name="T15" fmla="*/ 72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74">
                <a:moveTo>
                  <a:pt x="16" y="72"/>
                </a:moveTo>
                <a:cubicBezTo>
                  <a:pt x="12" y="71"/>
                  <a:pt x="8" y="63"/>
                  <a:pt x="5" y="55"/>
                </a:cubicBezTo>
                <a:cubicBezTo>
                  <a:pt x="0" y="35"/>
                  <a:pt x="8" y="25"/>
                  <a:pt x="39" y="12"/>
                </a:cubicBezTo>
                <a:cubicBezTo>
                  <a:pt x="66" y="1"/>
                  <a:pt x="74" y="0"/>
                  <a:pt x="80" y="8"/>
                </a:cubicBezTo>
                <a:cubicBezTo>
                  <a:pt x="87" y="17"/>
                  <a:pt x="84" y="27"/>
                  <a:pt x="70" y="38"/>
                </a:cubicBezTo>
                <a:cubicBezTo>
                  <a:pt x="62" y="44"/>
                  <a:pt x="50" y="54"/>
                  <a:pt x="42" y="62"/>
                </a:cubicBezTo>
                <a:cubicBezTo>
                  <a:pt x="34" y="69"/>
                  <a:pt x="26" y="74"/>
                  <a:pt x="25" y="74"/>
                </a:cubicBezTo>
                <a:cubicBezTo>
                  <a:pt x="24" y="74"/>
                  <a:pt x="20" y="73"/>
                  <a:pt x="16" y="72"/>
                </a:cubicBezTo>
                <a:close/>
              </a:path>
            </a:pathLst>
          </a:custGeom>
          <a:solidFill>
            <a:srgbClr val="D3D3D3"/>
          </a:solidFill>
          <a:ln w="22225" cap="flat">
            <a:solidFill>
              <a:srgbClr val="D3D3D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49" name="Freeform 24"/>
          <p:cNvSpPr>
            <a:spLocks/>
          </p:cNvSpPr>
          <p:nvPr userDrawn="1"/>
        </p:nvSpPr>
        <p:spPr bwMode="grayWhite">
          <a:xfrm>
            <a:off x="2477457" y="-3591037"/>
            <a:ext cx="411163" cy="274639"/>
          </a:xfrm>
          <a:custGeom>
            <a:avLst/>
            <a:gdLst>
              <a:gd name="T0" fmla="*/ 75 w 286"/>
              <a:gd name="T1" fmla="*/ 177 h 191"/>
              <a:gd name="T2" fmla="*/ 69 w 286"/>
              <a:gd name="T3" fmla="*/ 161 h 191"/>
              <a:gd name="T4" fmla="*/ 47 w 286"/>
              <a:gd name="T5" fmla="*/ 152 h 191"/>
              <a:gd name="T6" fmla="*/ 18 w 286"/>
              <a:gd name="T7" fmla="*/ 107 h 191"/>
              <a:gd name="T8" fmla="*/ 45 w 286"/>
              <a:gd name="T9" fmla="*/ 89 h 191"/>
              <a:gd name="T10" fmla="*/ 82 w 286"/>
              <a:gd name="T11" fmla="*/ 74 h 191"/>
              <a:gd name="T12" fmla="*/ 105 w 286"/>
              <a:gd name="T13" fmla="*/ 65 h 191"/>
              <a:gd name="T14" fmla="*/ 137 w 286"/>
              <a:gd name="T15" fmla="*/ 41 h 191"/>
              <a:gd name="T16" fmla="*/ 210 w 286"/>
              <a:gd name="T17" fmla="*/ 4 h 191"/>
              <a:gd name="T18" fmla="*/ 245 w 286"/>
              <a:gd name="T19" fmla="*/ 2 h 191"/>
              <a:gd name="T20" fmla="*/ 279 w 286"/>
              <a:gd name="T21" fmla="*/ 18 h 191"/>
              <a:gd name="T22" fmla="*/ 259 w 286"/>
              <a:gd name="T23" fmla="*/ 71 h 191"/>
              <a:gd name="T24" fmla="*/ 250 w 286"/>
              <a:gd name="T25" fmla="*/ 95 h 191"/>
              <a:gd name="T26" fmla="*/ 231 w 286"/>
              <a:gd name="T27" fmla="*/ 126 h 191"/>
              <a:gd name="T28" fmla="*/ 209 w 286"/>
              <a:gd name="T29" fmla="*/ 143 h 191"/>
              <a:gd name="T30" fmla="*/ 183 w 286"/>
              <a:gd name="T31" fmla="*/ 151 h 191"/>
              <a:gd name="T32" fmla="*/ 185 w 286"/>
              <a:gd name="T33" fmla="*/ 109 h 191"/>
              <a:gd name="T34" fmla="*/ 193 w 286"/>
              <a:gd name="T35" fmla="*/ 99 h 191"/>
              <a:gd name="T36" fmla="*/ 139 w 286"/>
              <a:gd name="T37" fmla="*/ 147 h 191"/>
              <a:gd name="T38" fmla="*/ 75 w 286"/>
              <a:gd name="T39" fmla="*/ 177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6" h="191">
                <a:moveTo>
                  <a:pt x="75" y="177"/>
                </a:moveTo>
                <a:cubicBezTo>
                  <a:pt x="72" y="174"/>
                  <a:pt x="69" y="167"/>
                  <a:pt x="69" y="161"/>
                </a:cubicBezTo>
                <a:cubicBezTo>
                  <a:pt x="69" y="152"/>
                  <a:pt x="68" y="152"/>
                  <a:pt x="47" y="152"/>
                </a:cubicBezTo>
                <a:cubicBezTo>
                  <a:pt x="12" y="152"/>
                  <a:pt x="0" y="134"/>
                  <a:pt x="18" y="107"/>
                </a:cubicBezTo>
                <a:cubicBezTo>
                  <a:pt x="25" y="98"/>
                  <a:pt x="32" y="93"/>
                  <a:pt x="45" y="89"/>
                </a:cubicBezTo>
                <a:cubicBezTo>
                  <a:pt x="55" y="87"/>
                  <a:pt x="72" y="80"/>
                  <a:pt x="82" y="74"/>
                </a:cubicBezTo>
                <a:cubicBezTo>
                  <a:pt x="93" y="68"/>
                  <a:pt x="103" y="64"/>
                  <a:pt x="105" y="65"/>
                </a:cubicBezTo>
                <a:cubicBezTo>
                  <a:pt x="107" y="67"/>
                  <a:pt x="121" y="55"/>
                  <a:pt x="137" y="41"/>
                </a:cubicBezTo>
                <a:cubicBezTo>
                  <a:pt x="174" y="6"/>
                  <a:pt x="180" y="3"/>
                  <a:pt x="210" y="4"/>
                </a:cubicBezTo>
                <a:cubicBezTo>
                  <a:pt x="224" y="4"/>
                  <a:pt x="240" y="3"/>
                  <a:pt x="245" y="2"/>
                </a:cubicBezTo>
                <a:cubicBezTo>
                  <a:pt x="257" y="0"/>
                  <a:pt x="275" y="9"/>
                  <a:pt x="279" y="18"/>
                </a:cubicBezTo>
                <a:cubicBezTo>
                  <a:pt x="286" y="38"/>
                  <a:pt x="278" y="60"/>
                  <a:pt x="259" y="71"/>
                </a:cubicBezTo>
                <a:cubicBezTo>
                  <a:pt x="254" y="73"/>
                  <a:pt x="251" y="82"/>
                  <a:pt x="250" y="95"/>
                </a:cubicBezTo>
                <a:cubicBezTo>
                  <a:pt x="248" y="114"/>
                  <a:pt x="247" y="116"/>
                  <a:pt x="231" y="126"/>
                </a:cubicBezTo>
                <a:cubicBezTo>
                  <a:pt x="221" y="131"/>
                  <a:pt x="211" y="139"/>
                  <a:pt x="209" y="143"/>
                </a:cubicBezTo>
                <a:cubicBezTo>
                  <a:pt x="204" y="153"/>
                  <a:pt x="190" y="157"/>
                  <a:pt x="183" y="151"/>
                </a:cubicBezTo>
                <a:cubicBezTo>
                  <a:pt x="174" y="144"/>
                  <a:pt x="175" y="117"/>
                  <a:pt x="185" y="109"/>
                </a:cubicBezTo>
                <a:cubicBezTo>
                  <a:pt x="190" y="105"/>
                  <a:pt x="193" y="100"/>
                  <a:pt x="193" y="99"/>
                </a:cubicBezTo>
                <a:cubicBezTo>
                  <a:pt x="193" y="94"/>
                  <a:pt x="178" y="107"/>
                  <a:pt x="139" y="147"/>
                </a:cubicBezTo>
                <a:cubicBezTo>
                  <a:pt x="100" y="185"/>
                  <a:pt x="89" y="191"/>
                  <a:pt x="75" y="177"/>
                </a:cubicBezTo>
                <a:close/>
              </a:path>
            </a:pathLst>
          </a:custGeom>
          <a:solidFill>
            <a:srgbClr val="D3D3D3"/>
          </a:solidFill>
          <a:ln w="22225" cap="flat">
            <a:solidFill>
              <a:srgbClr val="D3D3D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50" name="Freeform 25"/>
          <p:cNvSpPr>
            <a:spLocks/>
          </p:cNvSpPr>
          <p:nvPr userDrawn="1"/>
        </p:nvSpPr>
        <p:spPr bwMode="grayWhite">
          <a:xfrm>
            <a:off x="2929896" y="-3659299"/>
            <a:ext cx="214313" cy="177800"/>
          </a:xfrm>
          <a:custGeom>
            <a:avLst/>
            <a:gdLst>
              <a:gd name="T0" fmla="*/ 73 w 150"/>
              <a:gd name="T1" fmla="*/ 116 h 124"/>
              <a:gd name="T2" fmla="*/ 48 w 150"/>
              <a:gd name="T3" fmla="*/ 88 h 124"/>
              <a:gd name="T4" fmla="*/ 39 w 150"/>
              <a:gd name="T5" fmla="*/ 61 h 124"/>
              <a:gd name="T6" fmla="*/ 31 w 150"/>
              <a:gd name="T7" fmla="*/ 51 h 124"/>
              <a:gd name="T8" fmla="*/ 19 w 150"/>
              <a:gd name="T9" fmla="*/ 0 h 124"/>
              <a:gd name="T10" fmla="*/ 39 w 150"/>
              <a:gd name="T11" fmla="*/ 19 h 124"/>
              <a:gd name="T12" fmla="*/ 52 w 150"/>
              <a:gd name="T13" fmla="*/ 22 h 124"/>
              <a:gd name="T14" fmla="*/ 145 w 150"/>
              <a:gd name="T15" fmla="*/ 17 h 124"/>
              <a:gd name="T16" fmla="*/ 146 w 150"/>
              <a:gd name="T17" fmla="*/ 36 h 124"/>
              <a:gd name="T18" fmla="*/ 141 w 150"/>
              <a:gd name="T19" fmla="*/ 62 h 124"/>
              <a:gd name="T20" fmla="*/ 123 w 150"/>
              <a:gd name="T21" fmla="*/ 114 h 124"/>
              <a:gd name="T22" fmla="*/ 73 w 150"/>
              <a:gd name="T23" fmla="*/ 116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0" h="124">
                <a:moveTo>
                  <a:pt x="73" y="116"/>
                </a:moveTo>
                <a:cubicBezTo>
                  <a:pt x="60" y="110"/>
                  <a:pt x="55" y="105"/>
                  <a:pt x="48" y="88"/>
                </a:cubicBezTo>
                <a:cubicBezTo>
                  <a:pt x="43" y="76"/>
                  <a:pt x="39" y="64"/>
                  <a:pt x="39" y="61"/>
                </a:cubicBezTo>
                <a:cubicBezTo>
                  <a:pt x="39" y="58"/>
                  <a:pt x="35" y="53"/>
                  <a:pt x="31" y="51"/>
                </a:cubicBezTo>
                <a:cubicBezTo>
                  <a:pt x="9" y="37"/>
                  <a:pt x="0" y="0"/>
                  <a:pt x="19" y="0"/>
                </a:cubicBezTo>
                <a:cubicBezTo>
                  <a:pt x="27" y="0"/>
                  <a:pt x="39" y="11"/>
                  <a:pt x="39" y="19"/>
                </a:cubicBezTo>
                <a:cubicBezTo>
                  <a:pt x="39" y="23"/>
                  <a:pt x="43" y="24"/>
                  <a:pt x="52" y="22"/>
                </a:cubicBezTo>
                <a:cubicBezTo>
                  <a:pt x="69" y="18"/>
                  <a:pt x="138" y="14"/>
                  <a:pt x="145" y="17"/>
                </a:cubicBezTo>
                <a:cubicBezTo>
                  <a:pt x="149" y="19"/>
                  <a:pt x="150" y="23"/>
                  <a:pt x="146" y="36"/>
                </a:cubicBezTo>
                <a:cubicBezTo>
                  <a:pt x="144" y="46"/>
                  <a:pt x="142" y="57"/>
                  <a:pt x="141" y="62"/>
                </a:cubicBezTo>
                <a:cubicBezTo>
                  <a:pt x="135" y="92"/>
                  <a:pt x="130" y="108"/>
                  <a:pt x="123" y="114"/>
                </a:cubicBezTo>
                <a:cubicBezTo>
                  <a:pt x="113" y="123"/>
                  <a:pt x="91" y="124"/>
                  <a:pt x="73" y="116"/>
                </a:cubicBezTo>
                <a:close/>
              </a:path>
            </a:pathLst>
          </a:custGeom>
          <a:solidFill>
            <a:srgbClr val="D3D3D3"/>
          </a:solidFill>
          <a:ln w="22225" cap="flat">
            <a:solidFill>
              <a:srgbClr val="D3D3D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51" name="Freeform 26"/>
          <p:cNvSpPr>
            <a:spLocks/>
          </p:cNvSpPr>
          <p:nvPr userDrawn="1"/>
        </p:nvSpPr>
        <p:spPr bwMode="grayWhite">
          <a:xfrm>
            <a:off x="3037845" y="-3752961"/>
            <a:ext cx="133351" cy="98425"/>
          </a:xfrm>
          <a:custGeom>
            <a:avLst/>
            <a:gdLst>
              <a:gd name="T0" fmla="*/ 68 w 93"/>
              <a:gd name="T1" fmla="*/ 65 h 69"/>
              <a:gd name="T2" fmla="*/ 56 w 93"/>
              <a:gd name="T3" fmla="*/ 57 h 69"/>
              <a:gd name="T4" fmla="*/ 38 w 93"/>
              <a:gd name="T5" fmla="*/ 44 h 69"/>
              <a:gd name="T6" fmla="*/ 20 w 93"/>
              <a:gd name="T7" fmla="*/ 39 h 69"/>
              <a:gd name="T8" fmla="*/ 6 w 93"/>
              <a:gd name="T9" fmla="*/ 37 h 69"/>
              <a:gd name="T10" fmla="*/ 41 w 93"/>
              <a:gd name="T11" fmla="*/ 7 h 69"/>
              <a:gd name="T12" fmla="*/ 50 w 93"/>
              <a:gd name="T13" fmla="*/ 4 h 69"/>
              <a:gd name="T14" fmla="*/ 90 w 93"/>
              <a:gd name="T15" fmla="*/ 5 h 69"/>
              <a:gd name="T16" fmla="*/ 73 w 93"/>
              <a:gd name="T17" fmla="*/ 69 h 69"/>
              <a:gd name="T18" fmla="*/ 68 w 93"/>
              <a:gd name="T19" fmla="*/ 6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69">
                <a:moveTo>
                  <a:pt x="68" y="65"/>
                </a:moveTo>
                <a:cubicBezTo>
                  <a:pt x="68" y="63"/>
                  <a:pt x="63" y="59"/>
                  <a:pt x="56" y="57"/>
                </a:cubicBezTo>
                <a:cubicBezTo>
                  <a:pt x="50" y="54"/>
                  <a:pt x="42" y="48"/>
                  <a:pt x="38" y="44"/>
                </a:cubicBezTo>
                <a:cubicBezTo>
                  <a:pt x="33" y="38"/>
                  <a:pt x="28" y="37"/>
                  <a:pt x="20" y="39"/>
                </a:cubicBezTo>
                <a:cubicBezTo>
                  <a:pt x="14" y="40"/>
                  <a:pt x="8" y="39"/>
                  <a:pt x="6" y="37"/>
                </a:cubicBezTo>
                <a:cubicBezTo>
                  <a:pt x="0" y="27"/>
                  <a:pt x="30" y="1"/>
                  <a:pt x="41" y="7"/>
                </a:cubicBezTo>
                <a:cubicBezTo>
                  <a:pt x="43" y="8"/>
                  <a:pt x="47" y="7"/>
                  <a:pt x="50" y="4"/>
                </a:cubicBezTo>
                <a:cubicBezTo>
                  <a:pt x="55" y="0"/>
                  <a:pt x="86" y="1"/>
                  <a:pt x="90" y="5"/>
                </a:cubicBezTo>
                <a:cubicBezTo>
                  <a:pt x="93" y="9"/>
                  <a:pt x="78" y="69"/>
                  <a:pt x="73" y="69"/>
                </a:cubicBezTo>
                <a:cubicBezTo>
                  <a:pt x="70" y="69"/>
                  <a:pt x="68" y="67"/>
                  <a:pt x="68" y="65"/>
                </a:cubicBezTo>
                <a:close/>
              </a:path>
            </a:pathLst>
          </a:custGeom>
          <a:solidFill>
            <a:srgbClr val="D3D3D3"/>
          </a:solidFill>
          <a:ln w="22225" cap="flat">
            <a:solidFill>
              <a:srgbClr val="D3D3D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52" name="Freeform 27"/>
          <p:cNvSpPr>
            <a:spLocks/>
          </p:cNvSpPr>
          <p:nvPr userDrawn="1"/>
        </p:nvSpPr>
        <p:spPr bwMode="grayWhite">
          <a:xfrm>
            <a:off x="2382207" y="-2767124"/>
            <a:ext cx="965200" cy="930275"/>
          </a:xfrm>
          <a:custGeom>
            <a:avLst/>
            <a:gdLst>
              <a:gd name="T0" fmla="*/ 542 w 672"/>
              <a:gd name="T1" fmla="*/ 643 h 648"/>
              <a:gd name="T2" fmla="*/ 472 w 672"/>
              <a:gd name="T3" fmla="*/ 602 h 648"/>
              <a:gd name="T4" fmla="*/ 444 w 672"/>
              <a:gd name="T5" fmla="*/ 585 h 648"/>
              <a:gd name="T6" fmla="*/ 428 w 672"/>
              <a:gd name="T7" fmla="*/ 572 h 648"/>
              <a:gd name="T8" fmla="*/ 427 w 672"/>
              <a:gd name="T9" fmla="*/ 562 h 648"/>
              <a:gd name="T10" fmla="*/ 406 w 672"/>
              <a:gd name="T11" fmla="*/ 562 h 648"/>
              <a:gd name="T12" fmla="*/ 354 w 672"/>
              <a:gd name="T13" fmla="*/ 586 h 648"/>
              <a:gd name="T14" fmla="*/ 325 w 672"/>
              <a:gd name="T15" fmla="*/ 593 h 648"/>
              <a:gd name="T16" fmla="*/ 235 w 672"/>
              <a:gd name="T17" fmla="*/ 605 h 648"/>
              <a:gd name="T18" fmla="*/ 124 w 672"/>
              <a:gd name="T19" fmla="*/ 586 h 648"/>
              <a:gd name="T20" fmla="*/ 122 w 672"/>
              <a:gd name="T21" fmla="*/ 565 h 648"/>
              <a:gd name="T22" fmla="*/ 119 w 672"/>
              <a:gd name="T23" fmla="*/ 525 h 648"/>
              <a:gd name="T24" fmla="*/ 88 w 672"/>
              <a:gd name="T25" fmla="*/ 485 h 648"/>
              <a:gd name="T26" fmla="*/ 16 w 672"/>
              <a:gd name="T27" fmla="*/ 434 h 648"/>
              <a:gd name="T28" fmla="*/ 15 w 672"/>
              <a:gd name="T29" fmla="*/ 428 h 648"/>
              <a:gd name="T30" fmla="*/ 8 w 672"/>
              <a:gd name="T31" fmla="*/ 393 h 648"/>
              <a:gd name="T32" fmla="*/ 0 w 672"/>
              <a:gd name="T33" fmla="*/ 358 h 648"/>
              <a:gd name="T34" fmla="*/ 174 w 672"/>
              <a:gd name="T35" fmla="*/ 406 h 648"/>
              <a:gd name="T36" fmla="*/ 298 w 672"/>
              <a:gd name="T37" fmla="*/ 442 h 648"/>
              <a:gd name="T38" fmla="*/ 344 w 672"/>
              <a:gd name="T39" fmla="*/ 262 h 648"/>
              <a:gd name="T40" fmla="*/ 391 w 672"/>
              <a:gd name="T41" fmla="*/ 79 h 648"/>
              <a:gd name="T42" fmla="*/ 409 w 672"/>
              <a:gd name="T43" fmla="*/ 113 h 648"/>
              <a:gd name="T44" fmla="*/ 423 w 672"/>
              <a:gd name="T45" fmla="*/ 191 h 648"/>
              <a:gd name="T46" fmla="*/ 439 w 672"/>
              <a:gd name="T47" fmla="*/ 236 h 648"/>
              <a:gd name="T48" fmla="*/ 446 w 672"/>
              <a:gd name="T49" fmla="*/ 198 h 648"/>
              <a:gd name="T50" fmla="*/ 443 w 672"/>
              <a:gd name="T51" fmla="*/ 119 h 648"/>
              <a:gd name="T52" fmla="*/ 441 w 672"/>
              <a:gd name="T53" fmla="*/ 69 h 648"/>
              <a:gd name="T54" fmla="*/ 453 w 672"/>
              <a:gd name="T55" fmla="*/ 56 h 648"/>
              <a:gd name="T56" fmla="*/ 482 w 672"/>
              <a:gd name="T57" fmla="*/ 46 h 648"/>
              <a:gd name="T58" fmla="*/ 507 w 672"/>
              <a:gd name="T59" fmla="*/ 61 h 648"/>
              <a:gd name="T60" fmla="*/ 510 w 672"/>
              <a:gd name="T61" fmla="*/ 62 h 648"/>
              <a:gd name="T62" fmla="*/ 500 w 672"/>
              <a:gd name="T63" fmla="*/ 40 h 648"/>
              <a:gd name="T64" fmla="*/ 532 w 672"/>
              <a:gd name="T65" fmla="*/ 4 h 648"/>
              <a:gd name="T66" fmla="*/ 586 w 672"/>
              <a:gd name="T67" fmla="*/ 29 h 648"/>
              <a:gd name="T68" fmla="*/ 569 w 672"/>
              <a:gd name="T69" fmla="*/ 99 h 648"/>
              <a:gd name="T70" fmla="*/ 548 w 672"/>
              <a:gd name="T71" fmla="*/ 126 h 648"/>
              <a:gd name="T72" fmla="*/ 548 w 672"/>
              <a:gd name="T73" fmla="*/ 176 h 648"/>
              <a:gd name="T74" fmla="*/ 561 w 672"/>
              <a:gd name="T75" fmla="*/ 289 h 648"/>
              <a:gd name="T76" fmla="*/ 557 w 672"/>
              <a:gd name="T77" fmla="*/ 326 h 648"/>
              <a:gd name="T78" fmla="*/ 550 w 672"/>
              <a:gd name="T79" fmla="*/ 362 h 648"/>
              <a:gd name="T80" fmla="*/ 615 w 672"/>
              <a:gd name="T81" fmla="*/ 447 h 648"/>
              <a:gd name="T82" fmla="*/ 663 w 672"/>
              <a:gd name="T83" fmla="*/ 535 h 648"/>
              <a:gd name="T84" fmla="*/ 637 w 672"/>
              <a:gd name="T85" fmla="*/ 544 h 648"/>
              <a:gd name="T86" fmla="*/ 610 w 672"/>
              <a:gd name="T87" fmla="*/ 538 h 648"/>
              <a:gd name="T88" fmla="*/ 602 w 672"/>
              <a:gd name="T89" fmla="*/ 535 h 648"/>
              <a:gd name="T90" fmla="*/ 606 w 672"/>
              <a:gd name="T91" fmla="*/ 568 h 648"/>
              <a:gd name="T92" fmla="*/ 592 w 672"/>
              <a:gd name="T93" fmla="*/ 640 h 648"/>
              <a:gd name="T94" fmla="*/ 542 w 672"/>
              <a:gd name="T95" fmla="*/ 643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72" h="648">
                <a:moveTo>
                  <a:pt x="542" y="643"/>
                </a:moveTo>
                <a:cubicBezTo>
                  <a:pt x="523" y="638"/>
                  <a:pt x="493" y="621"/>
                  <a:pt x="472" y="602"/>
                </a:cubicBezTo>
                <a:cubicBezTo>
                  <a:pt x="466" y="597"/>
                  <a:pt x="453" y="589"/>
                  <a:pt x="444" y="585"/>
                </a:cubicBezTo>
                <a:cubicBezTo>
                  <a:pt x="435" y="581"/>
                  <a:pt x="428" y="575"/>
                  <a:pt x="428" y="572"/>
                </a:cubicBezTo>
                <a:cubicBezTo>
                  <a:pt x="427" y="569"/>
                  <a:pt x="427" y="564"/>
                  <a:pt x="427" y="562"/>
                </a:cubicBezTo>
                <a:cubicBezTo>
                  <a:pt x="426" y="553"/>
                  <a:pt x="409" y="553"/>
                  <a:pt x="406" y="562"/>
                </a:cubicBezTo>
                <a:cubicBezTo>
                  <a:pt x="402" y="574"/>
                  <a:pt x="382" y="583"/>
                  <a:pt x="354" y="586"/>
                </a:cubicBezTo>
                <a:cubicBezTo>
                  <a:pt x="341" y="587"/>
                  <a:pt x="328" y="590"/>
                  <a:pt x="325" y="593"/>
                </a:cubicBezTo>
                <a:cubicBezTo>
                  <a:pt x="313" y="605"/>
                  <a:pt x="292" y="608"/>
                  <a:pt x="235" y="605"/>
                </a:cubicBezTo>
                <a:cubicBezTo>
                  <a:pt x="150" y="601"/>
                  <a:pt x="124" y="597"/>
                  <a:pt x="124" y="586"/>
                </a:cubicBezTo>
                <a:cubicBezTo>
                  <a:pt x="124" y="583"/>
                  <a:pt x="123" y="573"/>
                  <a:pt x="122" y="565"/>
                </a:cubicBezTo>
                <a:cubicBezTo>
                  <a:pt x="121" y="556"/>
                  <a:pt x="120" y="538"/>
                  <a:pt x="119" y="525"/>
                </a:cubicBezTo>
                <a:cubicBezTo>
                  <a:pt x="117" y="498"/>
                  <a:pt x="109" y="488"/>
                  <a:pt x="88" y="485"/>
                </a:cubicBezTo>
                <a:cubicBezTo>
                  <a:pt x="64" y="480"/>
                  <a:pt x="16" y="447"/>
                  <a:pt x="16" y="434"/>
                </a:cubicBezTo>
                <a:cubicBezTo>
                  <a:pt x="16" y="432"/>
                  <a:pt x="16" y="429"/>
                  <a:pt x="15" y="428"/>
                </a:cubicBezTo>
                <a:cubicBezTo>
                  <a:pt x="15" y="426"/>
                  <a:pt x="12" y="410"/>
                  <a:pt x="8" y="393"/>
                </a:cubicBezTo>
                <a:cubicBezTo>
                  <a:pt x="4" y="375"/>
                  <a:pt x="0" y="359"/>
                  <a:pt x="0" y="358"/>
                </a:cubicBezTo>
                <a:cubicBezTo>
                  <a:pt x="0" y="355"/>
                  <a:pt x="1" y="355"/>
                  <a:pt x="174" y="406"/>
                </a:cubicBezTo>
                <a:cubicBezTo>
                  <a:pt x="241" y="427"/>
                  <a:pt x="298" y="442"/>
                  <a:pt x="298" y="442"/>
                </a:cubicBezTo>
                <a:cubicBezTo>
                  <a:pt x="299" y="441"/>
                  <a:pt x="320" y="360"/>
                  <a:pt x="344" y="262"/>
                </a:cubicBezTo>
                <a:cubicBezTo>
                  <a:pt x="369" y="165"/>
                  <a:pt x="390" y="82"/>
                  <a:pt x="391" y="79"/>
                </a:cubicBezTo>
                <a:cubicBezTo>
                  <a:pt x="392" y="75"/>
                  <a:pt x="400" y="91"/>
                  <a:pt x="409" y="113"/>
                </a:cubicBezTo>
                <a:cubicBezTo>
                  <a:pt x="424" y="151"/>
                  <a:pt x="424" y="154"/>
                  <a:pt x="423" y="191"/>
                </a:cubicBezTo>
                <a:cubicBezTo>
                  <a:pt x="421" y="237"/>
                  <a:pt x="425" y="249"/>
                  <a:pt x="439" y="236"/>
                </a:cubicBezTo>
                <a:cubicBezTo>
                  <a:pt x="446" y="229"/>
                  <a:pt x="447" y="223"/>
                  <a:pt x="446" y="198"/>
                </a:cubicBezTo>
                <a:cubicBezTo>
                  <a:pt x="445" y="182"/>
                  <a:pt x="444" y="146"/>
                  <a:pt x="443" y="119"/>
                </a:cubicBezTo>
                <a:cubicBezTo>
                  <a:pt x="441" y="69"/>
                  <a:pt x="441" y="69"/>
                  <a:pt x="441" y="69"/>
                </a:cubicBezTo>
                <a:cubicBezTo>
                  <a:pt x="453" y="56"/>
                  <a:pt x="453" y="56"/>
                  <a:pt x="453" y="56"/>
                </a:cubicBezTo>
                <a:cubicBezTo>
                  <a:pt x="465" y="44"/>
                  <a:pt x="467" y="43"/>
                  <a:pt x="482" y="46"/>
                </a:cubicBezTo>
                <a:cubicBezTo>
                  <a:pt x="491" y="48"/>
                  <a:pt x="501" y="55"/>
                  <a:pt x="507" y="61"/>
                </a:cubicBezTo>
                <a:cubicBezTo>
                  <a:pt x="516" y="72"/>
                  <a:pt x="516" y="72"/>
                  <a:pt x="510" y="62"/>
                </a:cubicBezTo>
                <a:cubicBezTo>
                  <a:pt x="507" y="56"/>
                  <a:pt x="502" y="46"/>
                  <a:pt x="500" y="40"/>
                </a:cubicBezTo>
                <a:cubicBezTo>
                  <a:pt x="496" y="23"/>
                  <a:pt x="508" y="8"/>
                  <a:pt x="532" y="4"/>
                </a:cubicBezTo>
                <a:cubicBezTo>
                  <a:pt x="554" y="0"/>
                  <a:pt x="569" y="7"/>
                  <a:pt x="586" y="29"/>
                </a:cubicBezTo>
                <a:cubicBezTo>
                  <a:pt x="601" y="48"/>
                  <a:pt x="597" y="65"/>
                  <a:pt x="569" y="99"/>
                </a:cubicBezTo>
                <a:cubicBezTo>
                  <a:pt x="548" y="126"/>
                  <a:pt x="548" y="126"/>
                  <a:pt x="548" y="126"/>
                </a:cubicBezTo>
                <a:cubicBezTo>
                  <a:pt x="548" y="176"/>
                  <a:pt x="548" y="176"/>
                  <a:pt x="548" y="176"/>
                </a:cubicBezTo>
                <a:cubicBezTo>
                  <a:pt x="550" y="232"/>
                  <a:pt x="553" y="265"/>
                  <a:pt x="561" y="289"/>
                </a:cubicBezTo>
                <a:cubicBezTo>
                  <a:pt x="566" y="303"/>
                  <a:pt x="566" y="306"/>
                  <a:pt x="557" y="326"/>
                </a:cubicBezTo>
                <a:cubicBezTo>
                  <a:pt x="550" y="341"/>
                  <a:pt x="548" y="351"/>
                  <a:pt x="550" y="362"/>
                </a:cubicBezTo>
                <a:cubicBezTo>
                  <a:pt x="553" y="384"/>
                  <a:pt x="578" y="417"/>
                  <a:pt x="615" y="447"/>
                </a:cubicBezTo>
                <a:cubicBezTo>
                  <a:pt x="657" y="483"/>
                  <a:pt x="672" y="510"/>
                  <a:pt x="663" y="535"/>
                </a:cubicBezTo>
                <a:cubicBezTo>
                  <a:pt x="659" y="547"/>
                  <a:pt x="659" y="547"/>
                  <a:pt x="637" y="544"/>
                </a:cubicBezTo>
                <a:cubicBezTo>
                  <a:pt x="624" y="543"/>
                  <a:pt x="612" y="540"/>
                  <a:pt x="610" y="538"/>
                </a:cubicBezTo>
                <a:cubicBezTo>
                  <a:pt x="608" y="536"/>
                  <a:pt x="604" y="535"/>
                  <a:pt x="602" y="535"/>
                </a:cubicBezTo>
                <a:cubicBezTo>
                  <a:pt x="591" y="535"/>
                  <a:pt x="593" y="548"/>
                  <a:pt x="606" y="568"/>
                </a:cubicBezTo>
                <a:cubicBezTo>
                  <a:pt x="628" y="603"/>
                  <a:pt x="624" y="624"/>
                  <a:pt x="592" y="640"/>
                </a:cubicBezTo>
                <a:cubicBezTo>
                  <a:pt x="576" y="647"/>
                  <a:pt x="562" y="648"/>
                  <a:pt x="542" y="643"/>
                </a:cubicBezTo>
                <a:close/>
              </a:path>
            </a:pathLst>
          </a:custGeom>
          <a:solidFill>
            <a:srgbClr val="D3D3D3"/>
          </a:solidFill>
          <a:ln w="22225" cap="flat">
            <a:solidFill>
              <a:srgbClr val="D3D3D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53" name="Freeform 28"/>
          <p:cNvSpPr>
            <a:spLocks/>
          </p:cNvSpPr>
          <p:nvPr userDrawn="1"/>
        </p:nvSpPr>
        <p:spPr bwMode="grayWhite">
          <a:xfrm>
            <a:off x="4728532" y="706328"/>
            <a:ext cx="109539" cy="66675"/>
          </a:xfrm>
          <a:custGeom>
            <a:avLst/>
            <a:gdLst>
              <a:gd name="T0" fmla="*/ 25 w 76"/>
              <a:gd name="T1" fmla="*/ 36 h 46"/>
              <a:gd name="T2" fmla="*/ 0 w 76"/>
              <a:gd name="T3" fmla="*/ 17 h 46"/>
              <a:gd name="T4" fmla="*/ 30 w 76"/>
              <a:gd name="T5" fmla="*/ 2 h 46"/>
              <a:gd name="T6" fmla="*/ 61 w 76"/>
              <a:gd name="T7" fmla="*/ 13 h 46"/>
              <a:gd name="T8" fmla="*/ 60 w 76"/>
              <a:gd name="T9" fmla="*/ 46 h 46"/>
              <a:gd name="T10" fmla="*/ 25 w 76"/>
              <a:gd name="T11" fmla="*/ 36 h 46"/>
            </a:gdLst>
            <a:ahLst/>
            <a:cxnLst>
              <a:cxn ang="0">
                <a:pos x="T0" y="T1"/>
              </a:cxn>
              <a:cxn ang="0">
                <a:pos x="T2" y="T3"/>
              </a:cxn>
              <a:cxn ang="0">
                <a:pos x="T4" y="T5"/>
              </a:cxn>
              <a:cxn ang="0">
                <a:pos x="T6" y="T7"/>
              </a:cxn>
              <a:cxn ang="0">
                <a:pos x="T8" y="T9"/>
              </a:cxn>
              <a:cxn ang="0">
                <a:pos x="T10" y="T11"/>
              </a:cxn>
            </a:cxnLst>
            <a:rect l="0" t="0" r="r" b="b"/>
            <a:pathLst>
              <a:path w="76" h="46">
                <a:moveTo>
                  <a:pt x="25" y="36"/>
                </a:moveTo>
                <a:cubicBezTo>
                  <a:pt x="4" y="28"/>
                  <a:pt x="0" y="25"/>
                  <a:pt x="0" y="17"/>
                </a:cubicBezTo>
                <a:cubicBezTo>
                  <a:pt x="0" y="6"/>
                  <a:pt x="2" y="5"/>
                  <a:pt x="30" y="2"/>
                </a:cubicBezTo>
                <a:cubicBezTo>
                  <a:pt x="48" y="0"/>
                  <a:pt x="50" y="1"/>
                  <a:pt x="61" y="13"/>
                </a:cubicBezTo>
                <a:cubicBezTo>
                  <a:pt x="76" y="29"/>
                  <a:pt x="75" y="45"/>
                  <a:pt x="60" y="46"/>
                </a:cubicBezTo>
                <a:cubicBezTo>
                  <a:pt x="54" y="46"/>
                  <a:pt x="38" y="42"/>
                  <a:pt x="25" y="36"/>
                </a:cubicBezTo>
                <a:close/>
              </a:path>
            </a:pathLst>
          </a:custGeom>
          <a:solidFill>
            <a:srgbClr val="D3D3D3"/>
          </a:solidFill>
          <a:ln w="22225" cap="flat">
            <a:solidFill>
              <a:srgbClr val="D3D3D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54" name="Freeform 29"/>
          <p:cNvSpPr>
            <a:spLocks/>
          </p:cNvSpPr>
          <p:nvPr userDrawn="1"/>
        </p:nvSpPr>
        <p:spPr bwMode="grayWhite">
          <a:xfrm>
            <a:off x="2139320" y="-2365485"/>
            <a:ext cx="2413001" cy="2038351"/>
          </a:xfrm>
          <a:custGeom>
            <a:avLst/>
            <a:gdLst>
              <a:gd name="T0" fmla="*/ 920 w 1678"/>
              <a:gd name="T1" fmla="*/ 1409 h 1419"/>
              <a:gd name="T2" fmla="*/ 824 w 1678"/>
              <a:gd name="T3" fmla="*/ 1397 h 1419"/>
              <a:gd name="T4" fmla="*/ 634 w 1678"/>
              <a:gd name="T5" fmla="*/ 1371 h 1419"/>
              <a:gd name="T6" fmla="*/ 646 w 1678"/>
              <a:gd name="T7" fmla="*/ 1247 h 1419"/>
              <a:gd name="T8" fmla="*/ 662 w 1678"/>
              <a:gd name="T9" fmla="*/ 1075 h 1419"/>
              <a:gd name="T10" fmla="*/ 681 w 1678"/>
              <a:gd name="T11" fmla="*/ 875 h 1419"/>
              <a:gd name="T12" fmla="*/ 414 w 1678"/>
              <a:gd name="T13" fmla="*/ 724 h 1419"/>
              <a:gd name="T14" fmla="*/ 300 w 1678"/>
              <a:gd name="T15" fmla="*/ 623 h 1419"/>
              <a:gd name="T16" fmla="*/ 128 w 1678"/>
              <a:gd name="T17" fmla="*/ 441 h 1419"/>
              <a:gd name="T18" fmla="*/ 54 w 1678"/>
              <a:gd name="T19" fmla="*/ 111 h 1419"/>
              <a:gd name="T20" fmla="*/ 192 w 1678"/>
              <a:gd name="T21" fmla="*/ 215 h 1419"/>
              <a:gd name="T22" fmla="*/ 268 w 1678"/>
              <a:gd name="T23" fmla="*/ 305 h 1419"/>
              <a:gd name="T24" fmla="*/ 205 w 1678"/>
              <a:gd name="T25" fmla="*/ 361 h 1419"/>
              <a:gd name="T26" fmla="*/ 395 w 1678"/>
              <a:gd name="T27" fmla="*/ 394 h 1419"/>
              <a:gd name="T28" fmla="*/ 481 w 1678"/>
              <a:gd name="T29" fmla="*/ 516 h 1419"/>
              <a:gd name="T30" fmla="*/ 483 w 1678"/>
              <a:gd name="T31" fmla="*/ 435 h 1419"/>
              <a:gd name="T32" fmla="*/ 555 w 1678"/>
              <a:gd name="T33" fmla="*/ 386 h 1419"/>
              <a:gd name="T34" fmla="*/ 521 w 1678"/>
              <a:gd name="T35" fmla="*/ 335 h 1419"/>
              <a:gd name="T36" fmla="*/ 614 w 1678"/>
              <a:gd name="T37" fmla="*/ 356 h 1419"/>
              <a:gd name="T38" fmla="*/ 686 w 1678"/>
              <a:gd name="T39" fmla="*/ 432 h 1419"/>
              <a:gd name="T40" fmla="*/ 732 w 1678"/>
              <a:gd name="T41" fmla="*/ 485 h 1419"/>
              <a:gd name="T42" fmla="*/ 862 w 1678"/>
              <a:gd name="T43" fmla="*/ 499 h 1419"/>
              <a:gd name="T44" fmla="*/ 898 w 1678"/>
              <a:gd name="T45" fmla="*/ 462 h 1419"/>
              <a:gd name="T46" fmla="*/ 997 w 1678"/>
              <a:gd name="T47" fmla="*/ 453 h 1419"/>
              <a:gd name="T48" fmla="*/ 1006 w 1678"/>
              <a:gd name="T49" fmla="*/ 554 h 1419"/>
              <a:gd name="T50" fmla="*/ 1028 w 1678"/>
              <a:gd name="T51" fmla="*/ 573 h 1419"/>
              <a:gd name="T52" fmla="*/ 1037 w 1678"/>
              <a:gd name="T53" fmla="*/ 478 h 1419"/>
              <a:gd name="T54" fmla="*/ 1096 w 1678"/>
              <a:gd name="T55" fmla="*/ 381 h 1419"/>
              <a:gd name="T56" fmla="*/ 1021 w 1678"/>
              <a:gd name="T57" fmla="*/ 271 h 1419"/>
              <a:gd name="T58" fmla="*/ 1005 w 1678"/>
              <a:gd name="T59" fmla="*/ 162 h 1419"/>
              <a:gd name="T60" fmla="*/ 1027 w 1678"/>
              <a:gd name="T61" fmla="*/ 83 h 1419"/>
              <a:gd name="T62" fmla="*/ 1092 w 1678"/>
              <a:gd name="T63" fmla="*/ 5 h 1419"/>
              <a:gd name="T64" fmla="*/ 1162 w 1678"/>
              <a:gd name="T65" fmla="*/ 113 h 1419"/>
              <a:gd name="T66" fmla="*/ 1183 w 1678"/>
              <a:gd name="T67" fmla="*/ 247 h 1419"/>
              <a:gd name="T68" fmla="*/ 1207 w 1678"/>
              <a:gd name="T69" fmla="*/ 302 h 1419"/>
              <a:gd name="T70" fmla="*/ 1252 w 1678"/>
              <a:gd name="T71" fmla="*/ 333 h 1419"/>
              <a:gd name="T72" fmla="*/ 1270 w 1678"/>
              <a:gd name="T73" fmla="*/ 409 h 1419"/>
              <a:gd name="T74" fmla="*/ 1337 w 1678"/>
              <a:gd name="T75" fmla="*/ 371 h 1419"/>
              <a:gd name="T76" fmla="*/ 1356 w 1678"/>
              <a:gd name="T77" fmla="*/ 486 h 1419"/>
              <a:gd name="T78" fmla="*/ 1400 w 1678"/>
              <a:gd name="T79" fmla="*/ 571 h 1419"/>
              <a:gd name="T80" fmla="*/ 1438 w 1678"/>
              <a:gd name="T81" fmla="*/ 481 h 1419"/>
              <a:gd name="T82" fmla="*/ 1476 w 1678"/>
              <a:gd name="T83" fmla="*/ 352 h 1419"/>
              <a:gd name="T84" fmla="*/ 1539 w 1678"/>
              <a:gd name="T85" fmla="*/ 271 h 1419"/>
              <a:gd name="T86" fmla="*/ 1620 w 1678"/>
              <a:gd name="T87" fmla="*/ 319 h 1419"/>
              <a:gd name="T88" fmla="*/ 1647 w 1678"/>
              <a:gd name="T89" fmla="*/ 373 h 1419"/>
              <a:gd name="T90" fmla="*/ 1632 w 1678"/>
              <a:gd name="T91" fmla="*/ 430 h 1419"/>
              <a:gd name="T92" fmla="*/ 1634 w 1678"/>
              <a:gd name="T93" fmla="*/ 485 h 1419"/>
              <a:gd name="T94" fmla="*/ 1597 w 1678"/>
              <a:gd name="T95" fmla="*/ 673 h 1419"/>
              <a:gd name="T96" fmla="*/ 1566 w 1678"/>
              <a:gd name="T97" fmla="*/ 673 h 1419"/>
              <a:gd name="T98" fmla="*/ 1508 w 1678"/>
              <a:gd name="T99" fmla="*/ 693 h 1419"/>
              <a:gd name="T100" fmla="*/ 1443 w 1678"/>
              <a:gd name="T101" fmla="*/ 679 h 1419"/>
              <a:gd name="T102" fmla="*/ 1438 w 1678"/>
              <a:gd name="T103" fmla="*/ 769 h 1419"/>
              <a:gd name="T104" fmla="*/ 1414 w 1678"/>
              <a:gd name="T105" fmla="*/ 824 h 1419"/>
              <a:gd name="T106" fmla="*/ 1402 w 1678"/>
              <a:gd name="T107" fmla="*/ 897 h 1419"/>
              <a:gd name="T108" fmla="*/ 1271 w 1678"/>
              <a:gd name="T109" fmla="*/ 1007 h 1419"/>
              <a:gd name="T110" fmla="*/ 1221 w 1678"/>
              <a:gd name="T111" fmla="*/ 1031 h 1419"/>
              <a:gd name="T112" fmla="*/ 1188 w 1678"/>
              <a:gd name="T113" fmla="*/ 1113 h 1419"/>
              <a:gd name="T114" fmla="*/ 1102 w 1678"/>
              <a:gd name="T115" fmla="*/ 1219 h 1419"/>
              <a:gd name="T116" fmla="*/ 1043 w 1678"/>
              <a:gd name="T117" fmla="*/ 1332 h 1419"/>
              <a:gd name="T118" fmla="*/ 1007 w 1678"/>
              <a:gd name="T119" fmla="*/ 1419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78" h="1419">
                <a:moveTo>
                  <a:pt x="988" y="1417"/>
                </a:moveTo>
                <a:cubicBezTo>
                  <a:pt x="987" y="1416"/>
                  <a:pt x="972" y="1414"/>
                  <a:pt x="954" y="1413"/>
                </a:cubicBezTo>
                <a:cubicBezTo>
                  <a:pt x="937" y="1411"/>
                  <a:pt x="921" y="1409"/>
                  <a:pt x="920" y="1409"/>
                </a:cubicBezTo>
                <a:cubicBezTo>
                  <a:pt x="919" y="1408"/>
                  <a:pt x="904" y="1406"/>
                  <a:pt x="886" y="1405"/>
                </a:cubicBezTo>
                <a:cubicBezTo>
                  <a:pt x="869" y="1403"/>
                  <a:pt x="853" y="1401"/>
                  <a:pt x="852" y="1401"/>
                </a:cubicBezTo>
                <a:cubicBezTo>
                  <a:pt x="851" y="1400"/>
                  <a:pt x="838" y="1398"/>
                  <a:pt x="824" y="1397"/>
                </a:cubicBezTo>
                <a:cubicBezTo>
                  <a:pt x="810" y="1395"/>
                  <a:pt x="790" y="1393"/>
                  <a:pt x="780" y="1392"/>
                </a:cubicBezTo>
                <a:cubicBezTo>
                  <a:pt x="742" y="1388"/>
                  <a:pt x="729" y="1387"/>
                  <a:pt x="684" y="1382"/>
                </a:cubicBezTo>
                <a:cubicBezTo>
                  <a:pt x="638" y="1378"/>
                  <a:pt x="631" y="1376"/>
                  <a:pt x="634" y="1371"/>
                </a:cubicBezTo>
                <a:cubicBezTo>
                  <a:pt x="635" y="1370"/>
                  <a:pt x="637" y="1351"/>
                  <a:pt x="638" y="1331"/>
                </a:cubicBezTo>
                <a:cubicBezTo>
                  <a:pt x="640" y="1310"/>
                  <a:pt x="642" y="1290"/>
                  <a:pt x="642" y="1287"/>
                </a:cubicBezTo>
                <a:cubicBezTo>
                  <a:pt x="643" y="1283"/>
                  <a:pt x="644" y="1265"/>
                  <a:pt x="646" y="1247"/>
                </a:cubicBezTo>
                <a:cubicBezTo>
                  <a:pt x="647" y="1228"/>
                  <a:pt x="649" y="1208"/>
                  <a:pt x="650" y="1203"/>
                </a:cubicBezTo>
                <a:cubicBezTo>
                  <a:pt x="651" y="1197"/>
                  <a:pt x="653" y="1180"/>
                  <a:pt x="654" y="1165"/>
                </a:cubicBezTo>
                <a:cubicBezTo>
                  <a:pt x="657" y="1131"/>
                  <a:pt x="660" y="1099"/>
                  <a:pt x="662" y="1075"/>
                </a:cubicBezTo>
                <a:cubicBezTo>
                  <a:pt x="663" y="1065"/>
                  <a:pt x="665" y="1048"/>
                  <a:pt x="666" y="1037"/>
                </a:cubicBezTo>
                <a:cubicBezTo>
                  <a:pt x="672" y="965"/>
                  <a:pt x="674" y="948"/>
                  <a:pt x="678" y="909"/>
                </a:cubicBezTo>
                <a:cubicBezTo>
                  <a:pt x="680" y="895"/>
                  <a:pt x="681" y="880"/>
                  <a:pt x="681" y="875"/>
                </a:cubicBezTo>
                <a:cubicBezTo>
                  <a:pt x="682" y="868"/>
                  <a:pt x="677" y="863"/>
                  <a:pt x="650" y="849"/>
                </a:cubicBezTo>
                <a:cubicBezTo>
                  <a:pt x="610" y="828"/>
                  <a:pt x="535" y="789"/>
                  <a:pt x="476" y="757"/>
                </a:cubicBezTo>
                <a:cubicBezTo>
                  <a:pt x="451" y="744"/>
                  <a:pt x="423" y="729"/>
                  <a:pt x="414" y="724"/>
                </a:cubicBezTo>
                <a:cubicBezTo>
                  <a:pt x="399" y="716"/>
                  <a:pt x="390" y="706"/>
                  <a:pt x="360" y="656"/>
                </a:cubicBezTo>
                <a:cubicBezTo>
                  <a:pt x="345" y="632"/>
                  <a:pt x="345" y="632"/>
                  <a:pt x="345" y="632"/>
                </a:cubicBezTo>
                <a:cubicBezTo>
                  <a:pt x="300" y="623"/>
                  <a:pt x="300" y="623"/>
                  <a:pt x="300" y="623"/>
                </a:cubicBezTo>
                <a:cubicBezTo>
                  <a:pt x="254" y="613"/>
                  <a:pt x="254" y="613"/>
                  <a:pt x="254" y="613"/>
                </a:cubicBezTo>
                <a:cubicBezTo>
                  <a:pt x="232" y="583"/>
                  <a:pt x="232" y="583"/>
                  <a:pt x="232" y="583"/>
                </a:cubicBezTo>
                <a:cubicBezTo>
                  <a:pt x="219" y="566"/>
                  <a:pt x="173" y="502"/>
                  <a:pt x="128" y="441"/>
                </a:cubicBezTo>
                <a:cubicBezTo>
                  <a:pt x="83" y="379"/>
                  <a:pt x="36" y="314"/>
                  <a:pt x="23" y="297"/>
                </a:cubicBezTo>
                <a:cubicBezTo>
                  <a:pt x="11" y="279"/>
                  <a:pt x="0" y="263"/>
                  <a:pt x="0" y="261"/>
                </a:cubicBezTo>
                <a:cubicBezTo>
                  <a:pt x="0" y="257"/>
                  <a:pt x="52" y="114"/>
                  <a:pt x="54" y="111"/>
                </a:cubicBezTo>
                <a:cubicBezTo>
                  <a:pt x="59" y="105"/>
                  <a:pt x="98" y="140"/>
                  <a:pt x="114" y="165"/>
                </a:cubicBezTo>
                <a:cubicBezTo>
                  <a:pt x="124" y="181"/>
                  <a:pt x="154" y="206"/>
                  <a:pt x="173" y="215"/>
                </a:cubicBezTo>
                <a:cubicBezTo>
                  <a:pt x="181" y="218"/>
                  <a:pt x="185" y="218"/>
                  <a:pt x="192" y="215"/>
                </a:cubicBezTo>
                <a:cubicBezTo>
                  <a:pt x="200" y="211"/>
                  <a:pt x="203" y="212"/>
                  <a:pt x="218" y="224"/>
                </a:cubicBezTo>
                <a:cubicBezTo>
                  <a:pt x="228" y="232"/>
                  <a:pt x="239" y="244"/>
                  <a:pt x="243" y="250"/>
                </a:cubicBezTo>
                <a:cubicBezTo>
                  <a:pt x="253" y="263"/>
                  <a:pt x="268" y="298"/>
                  <a:pt x="268" y="305"/>
                </a:cubicBezTo>
                <a:cubicBezTo>
                  <a:pt x="268" y="316"/>
                  <a:pt x="258" y="322"/>
                  <a:pt x="236" y="325"/>
                </a:cubicBezTo>
                <a:cubicBezTo>
                  <a:pt x="214" y="327"/>
                  <a:pt x="196" y="336"/>
                  <a:pt x="196" y="344"/>
                </a:cubicBezTo>
                <a:cubicBezTo>
                  <a:pt x="196" y="346"/>
                  <a:pt x="200" y="354"/>
                  <a:pt x="205" y="361"/>
                </a:cubicBezTo>
                <a:cubicBezTo>
                  <a:pt x="212" y="372"/>
                  <a:pt x="220" y="376"/>
                  <a:pt x="254" y="386"/>
                </a:cubicBezTo>
                <a:cubicBezTo>
                  <a:pt x="317" y="405"/>
                  <a:pt x="329" y="407"/>
                  <a:pt x="358" y="403"/>
                </a:cubicBezTo>
                <a:cubicBezTo>
                  <a:pt x="372" y="400"/>
                  <a:pt x="389" y="396"/>
                  <a:pt x="395" y="394"/>
                </a:cubicBezTo>
                <a:cubicBezTo>
                  <a:pt x="404" y="389"/>
                  <a:pt x="406" y="390"/>
                  <a:pt x="412" y="399"/>
                </a:cubicBezTo>
                <a:cubicBezTo>
                  <a:pt x="415" y="404"/>
                  <a:pt x="429" y="423"/>
                  <a:pt x="442" y="440"/>
                </a:cubicBezTo>
                <a:cubicBezTo>
                  <a:pt x="473" y="481"/>
                  <a:pt x="484" y="501"/>
                  <a:pt x="481" y="516"/>
                </a:cubicBezTo>
                <a:cubicBezTo>
                  <a:pt x="480" y="526"/>
                  <a:pt x="481" y="527"/>
                  <a:pt x="484" y="523"/>
                </a:cubicBezTo>
                <a:cubicBezTo>
                  <a:pt x="486" y="519"/>
                  <a:pt x="487" y="501"/>
                  <a:pt x="486" y="476"/>
                </a:cubicBezTo>
                <a:cubicBezTo>
                  <a:pt x="483" y="435"/>
                  <a:pt x="483" y="435"/>
                  <a:pt x="483" y="435"/>
                </a:cubicBezTo>
                <a:cubicBezTo>
                  <a:pt x="525" y="414"/>
                  <a:pt x="525" y="414"/>
                  <a:pt x="525" y="414"/>
                </a:cubicBezTo>
                <a:cubicBezTo>
                  <a:pt x="550" y="402"/>
                  <a:pt x="568" y="390"/>
                  <a:pt x="569" y="386"/>
                </a:cubicBezTo>
                <a:cubicBezTo>
                  <a:pt x="571" y="380"/>
                  <a:pt x="570" y="380"/>
                  <a:pt x="555" y="386"/>
                </a:cubicBezTo>
                <a:cubicBezTo>
                  <a:pt x="546" y="390"/>
                  <a:pt x="529" y="396"/>
                  <a:pt x="517" y="399"/>
                </a:cubicBezTo>
                <a:cubicBezTo>
                  <a:pt x="498" y="404"/>
                  <a:pt x="495" y="404"/>
                  <a:pt x="485" y="396"/>
                </a:cubicBezTo>
                <a:cubicBezTo>
                  <a:pt x="458" y="376"/>
                  <a:pt x="481" y="338"/>
                  <a:pt x="521" y="335"/>
                </a:cubicBezTo>
                <a:cubicBezTo>
                  <a:pt x="530" y="334"/>
                  <a:pt x="546" y="331"/>
                  <a:pt x="557" y="327"/>
                </a:cubicBezTo>
                <a:cubicBezTo>
                  <a:pt x="569" y="323"/>
                  <a:pt x="583" y="321"/>
                  <a:pt x="589" y="322"/>
                </a:cubicBezTo>
                <a:cubicBezTo>
                  <a:pt x="602" y="323"/>
                  <a:pt x="613" y="338"/>
                  <a:pt x="614" y="356"/>
                </a:cubicBezTo>
                <a:cubicBezTo>
                  <a:pt x="615" y="363"/>
                  <a:pt x="618" y="375"/>
                  <a:pt x="622" y="382"/>
                </a:cubicBezTo>
                <a:cubicBezTo>
                  <a:pt x="632" y="401"/>
                  <a:pt x="662" y="430"/>
                  <a:pt x="673" y="431"/>
                </a:cubicBezTo>
                <a:cubicBezTo>
                  <a:pt x="678" y="431"/>
                  <a:pt x="684" y="432"/>
                  <a:pt x="686" y="432"/>
                </a:cubicBezTo>
                <a:cubicBezTo>
                  <a:pt x="688" y="433"/>
                  <a:pt x="692" y="434"/>
                  <a:pt x="695" y="434"/>
                </a:cubicBezTo>
                <a:cubicBezTo>
                  <a:pt x="697" y="434"/>
                  <a:pt x="707" y="446"/>
                  <a:pt x="716" y="460"/>
                </a:cubicBezTo>
                <a:cubicBezTo>
                  <a:pt x="732" y="485"/>
                  <a:pt x="732" y="485"/>
                  <a:pt x="732" y="485"/>
                </a:cubicBezTo>
                <a:cubicBezTo>
                  <a:pt x="757" y="488"/>
                  <a:pt x="757" y="488"/>
                  <a:pt x="757" y="488"/>
                </a:cubicBezTo>
                <a:cubicBezTo>
                  <a:pt x="770" y="489"/>
                  <a:pt x="793" y="491"/>
                  <a:pt x="808" y="491"/>
                </a:cubicBezTo>
                <a:cubicBezTo>
                  <a:pt x="822" y="491"/>
                  <a:pt x="847" y="494"/>
                  <a:pt x="862" y="499"/>
                </a:cubicBezTo>
                <a:cubicBezTo>
                  <a:pt x="878" y="503"/>
                  <a:pt x="890" y="507"/>
                  <a:pt x="890" y="507"/>
                </a:cubicBezTo>
                <a:cubicBezTo>
                  <a:pt x="890" y="507"/>
                  <a:pt x="890" y="500"/>
                  <a:pt x="891" y="492"/>
                </a:cubicBezTo>
                <a:cubicBezTo>
                  <a:pt x="891" y="484"/>
                  <a:pt x="895" y="470"/>
                  <a:pt x="898" y="462"/>
                </a:cubicBezTo>
                <a:cubicBezTo>
                  <a:pt x="901" y="453"/>
                  <a:pt x="904" y="442"/>
                  <a:pt x="904" y="436"/>
                </a:cubicBezTo>
                <a:cubicBezTo>
                  <a:pt x="904" y="426"/>
                  <a:pt x="905" y="426"/>
                  <a:pt x="923" y="428"/>
                </a:cubicBezTo>
                <a:cubicBezTo>
                  <a:pt x="945" y="431"/>
                  <a:pt x="970" y="439"/>
                  <a:pt x="997" y="453"/>
                </a:cubicBezTo>
                <a:cubicBezTo>
                  <a:pt x="1009" y="459"/>
                  <a:pt x="1019" y="464"/>
                  <a:pt x="1020" y="465"/>
                </a:cubicBezTo>
                <a:cubicBezTo>
                  <a:pt x="1021" y="466"/>
                  <a:pt x="1006" y="520"/>
                  <a:pt x="998" y="546"/>
                </a:cubicBezTo>
                <a:cubicBezTo>
                  <a:pt x="997" y="549"/>
                  <a:pt x="1001" y="552"/>
                  <a:pt x="1006" y="554"/>
                </a:cubicBezTo>
                <a:cubicBezTo>
                  <a:pt x="1011" y="556"/>
                  <a:pt x="1017" y="564"/>
                  <a:pt x="1020" y="571"/>
                </a:cubicBezTo>
                <a:cubicBezTo>
                  <a:pt x="1025" y="585"/>
                  <a:pt x="1025" y="585"/>
                  <a:pt x="1025" y="585"/>
                </a:cubicBezTo>
                <a:cubicBezTo>
                  <a:pt x="1028" y="573"/>
                  <a:pt x="1028" y="573"/>
                  <a:pt x="1028" y="573"/>
                </a:cubicBezTo>
                <a:cubicBezTo>
                  <a:pt x="1030" y="565"/>
                  <a:pt x="1029" y="556"/>
                  <a:pt x="1025" y="549"/>
                </a:cubicBezTo>
                <a:cubicBezTo>
                  <a:pt x="1021" y="541"/>
                  <a:pt x="1018" y="526"/>
                  <a:pt x="1018" y="509"/>
                </a:cubicBezTo>
                <a:cubicBezTo>
                  <a:pt x="1018" y="481"/>
                  <a:pt x="1022" y="474"/>
                  <a:pt x="1037" y="478"/>
                </a:cubicBezTo>
                <a:cubicBezTo>
                  <a:pt x="1051" y="481"/>
                  <a:pt x="1079" y="467"/>
                  <a:pt x="1092" y="449"/>
                </a:cubicBezTo>
                <a:cubicBezTo>
                  <a:pt x="1102" y="436"/>
                  <a:pt x="1104" y="429"/>
                  <a:pt x="1104" y="410"/>
                </a:cubicBezTo>
                <a:cubicBezTo>
                  <a:pt x="1104" y="393"/>
                  <a:pt x="1102" y="386"/>
                  <a:pt x="1096" y="381"/>
                </a:cubicBezTo>
                <a:cubicBezTo>
                  <a:pt x="1087" y="372"/>
                  <a:pt x="1085" y="343"/>
                  <a:pt x="1093" y="335"/>
                </a:cubicBezTo>
                <a:cubicBezTo>
                  <a:pt x="1100" y="328"/>
                  <a:pt x="1075" y="306"/>
                  <a:pt x="1053" y="299"/>
                </a:cubicBezTo>
                <a:cubicBezTo>
                  <a:pt x="1039" y="294"/>
                  <a:pt x="1033" y="289"/>
                  <a:pt x="1021" y="271"/>
                </a:cubicBezTo>
                <a:cubicBezTo>
                  <a:pt x="1010" y="253"/>
                  <a:pt x="1008" y="246"/>
                  <a:pt x="1008" y="226"/>
                </a:cubicBezTo>
                <a:cubicBezTo>
                  <a:pt x="1008" y="213"/>
                  <a:pt x="1010" y="199"/>
                  <a:pt x="1012" y="195"/>
                </a:cubicBezTo>
                <a:cubicBezTo>
                  <a:pt x="1015" y="189"/>
                  <a:pt x="1014" y="182"/>
                  <a:pt x="1005" y="162"/>
                </a:cubicBezTo>
                <a:cubicBezTo>
                  <a:pt x="995" y="138"/>
                  <a:pt x="995" y="138"/>
                  <a:pt x="995" y="138"/>
                </a:cubicBezTo>
                <a:cubicBezTo>
                  <a:pt x="1002" y="115"/>
                  <a:pt x="1002" y="115"/>
                  <a:pt x="1002" y="115"/>
                </a:cubicBezTo>
                <a:cubicBezTo>
                  <a:pt x="1009" y="96"/>
                  <a:pt x="1013" y="91"/>
                  <a:pt x="1027" y="83"/>
                </a:cubicBezTo>
                <a:cubicBezTo>
                  <a:pt x="1042" y="75"/>
                  <a:pt x="1043" y="73"/>
                  <a:pt x="1039" y="65"/>
                </a:cubicBezTo>
                <a:cubicBezTo>
                  <a:pt x="1036" y="57"/>
                  <a:pt x="1037" y="53"/>
                  <a:pt x="1049" y="39"/>
                </a:cubicBezTo>
                <a:cubicBezTo>
                  <a:pt x="1080" y="0"/>
                  <a:pt x="1077" y="2"/>
                  <a:pt x="1092" y="5"/>
                </a:cubicBezTo>
                <a:cubicBezTo>
                  <a:pt x="1101" y="7"/>
                  <a:pt x="1106" y="11"/>
                  <a:pt x="1110" y="18"/>
                </a:cubicBezTo>
                <a:cubicBezTo>
                  <a:pt x="1112" y="24"/>
                  <a:pt x="1121" y="35"/>
                  <a:pt x="1129" y="42"/>
                </a:cubicBezTo>
                <a:cubicBezTo>
                  <a:pt x="1156" y="66"/>
                  <a:pt x="1160" y="75"/>
                  <a:pt x="1162" y="113"/>
                </a:cubicBezTo>
                <a:cubicBezTo>
                  <a:pt x="1163" y="148"/>
                  <a:pt x="1164" y="150"/>
                  <a:pt x="1184" y="183"/>
                </a:cubicBezTo>
                <a:cubicBezTo>
                  <a:pt x="1209" y="224"/>
                  <a:pt x="1211" y="247"/>
                  <a:pt x="1190" y="239"/>
                </a:cubicBezTo>
                <a:cubicBezTo>
                  <a:pt x="1182" y="236"/>
                  <a:pt x="1182" y="236"/>
                  <a:pt x="1183" y="247"/>
                </a:cubicBezTo>
                <a:cubicBezTo>
                  <a:pt x="1184" y="254"/>
                  <a:pt x="1183" y="267"/>
                  <a:pt x="1180" y="275"/>
                </a:cubicBezTo>
                <a:cubicBezTo>
                  <a:pt x="1175" y="291"/>
                  <a:pt x="1175" y="292"/>
                  <a:pt x="1183" y="299"/>
                </a:cubicBezTo>
                <a:cubicBezTo>
                  <a:pt x="1191" y="305"/>
                  <a:pt x="1195" y="305"/>
                  <a:pt x="1207" y="302"/>
                </a:cubicBezTo>
                <a:cubicBezTo>
                  <a:pt x="1222" y="298"/>
                  <a:pt x="1236" y="300"/>
                  <a:pt x="1266" y="313"/>
                </a:cubicBezTo>
                <a:cubicBezTo>
                  <a:pt x="1279" y="318"/>
                  <a:pt x="1280" y="320"/>
                  <a:pt x="1276" y="325"/>
                </a:cubicBezTo>
                <a:cubicBezTo>
                  <a:pt x="1273" y="328"/>
                  <a:pt x="1262" y="331"/>
                  <a:pt x="1252" y="333"/>
                </a:cubicBezTo>
                <a:cubicBezTo>
                  <a:pt x="1224" y="336"/>
                  <a:pt x="1222" y="343"/>
                  <a:pt x="1240" y="370"/>
                </a:cubicBezTo>
                <a:cubicBezTo>
                  <a:pt x="1255" y="392"/>
                  <a:pt x="1258" y="402"/>
                  <a:pt x="1260" y="435"/>
                </a:cubicBezTo>
                <a:cubicBezTo>
                  <a:pt x="1261" y="452"/>
                  <a:pt x="1267" y="435"/>
                  <a:pt x="1270" y="409"/>
                </a:cubicBezTo>
                <a:cubicBezTo>
                  <a:pt x="1275" y="367"/>
                  <a:pt x="1280" y="354"/>
                  <a:pt x="1296" y="348"/>
                </a:cubicBezTo>
                <a:cubicBezTo>
                  <a:pt x="1310" y="342"/>
                  <a:pt x="1310" y="342"/>
                  <a:pt x="1310" y="342"/>
                </a:cubicBezTo>
                <a:cubicBezTo>
                  <a:pt x="1337" y="371"/>
                  <a:pt x="1337" y="371"/>
                  <a:pt x="1337" y="371"/>
                </a:cubicBezTo>
                <a:cubicBezTo>
                  <a:pt x="1356" y="392"/>
                  <a:pt x="1365" y="406"/>
                  <a:pt x="1368" y="417"/>
                </a:cubicBezTo>
                <a:cubicBezTo>
                  <a:pt x="1374" y="442"/>
                  <a:pt x="1373" y="458"/>
                  <a:pt x="1364" y="467"/>
                </a:cubicBezTo>
                <a:cubicBezTo>
                  <a:pt x="1360" y="471"/>
                  <a:pt x="1356" y="480"/>
                  <a:pt x="1356" y="486"/>
                </a:cubicBezTo>
                <a:cubicBezTo>
                  <a:pt x="1356" y="498"/>
                  <a:pt x="1363" y="523"/>
                  <a:pt x="1368" y="527"/>
                </a:cubicBezTo>
                <a:cubicBezTo>
                  <a:pt x="1369" y="528"/>
                  <a:pt x="1376" y="538"/>
                  <a:pt x="1384" y="550"/>
                </a:cubicBezTo>
                <a:cubicBezTo>
                  <a:pt x="1391" y="561"/>
                  <a:pt x="1398" y="571"/>
                  <a:pt x="1400" y="571"/>
                </a:cubicBezTo>
                <a:cubicBezTo>
                  <a:pt x="1406" y="571"/>
                  <a:pt x="1421" y="557"/>
                  <a:pt x="1424" y="549"/>
                </a:cubicBezTo>
                <a:cubicBezTo>
                  <a:pt x="1426" y="544"/>
                  <a:pt x="1429" y="529"/>
                  <a:pt x="1430" y="516"/>
                </a:cubicBezTo>
                <a:cubicBezTo>
                  <a:pt x="1431" y="503"/>
                  <a:pt x="1435" y="487"/>
                  <a:pt x="1438" y="481"/>
                </a:cubicBezTo>
                <a:cubicBezTo>
                  <a:pt x="1441" y="474"/>
                  <a:pt x="1447" y="456"/>
                  <a:pt x="1452" y="440"/>
                </a:cubicBezTo>
                <a:cubicBezTo>
                  <a:pt x="1456" y="425"/>
                  <a:pt x="1465" y="404"/>
                  <a:pt x="1472" y="394"/>
                </a:cubicBezTo>
                <a:cubicBezTo>
                  <a:pt x="1486" y="373"/>
                  <a:pt x="1487" y="364"/>
                  <a:pt x="1476" y="352"/>
                </a:cubicBezTo>
                <a:cubicBezTo>
                  <a:pt x="1466" y="342"/>
                  <a:pt x="1455" y="294"/>
                  <a:pt x="1459" y="281"/>
                </a:cubicBezTo>
                <a:cubicBezTo>
                  <a:pt x="1464" y="264"/>
                  <a:pt x="1472" y="259"/>
                  <a:pt x="1495" y="259"/>
                </a:cubicBezTo>
                <a:cubicBezTo>
                  <a:pt x="1511" y="259"/>
                  <a:pt x="1522" y="262"/>
                  <a:pt x="1539" y="271"/>
                </a:cubicBezTo>
                <a:cubicBezTo>
                  <a:pt x="1551" y="277"/>
                  <a:pt x="1565" y="283"/>
                  <a:pt x="1569" y="283"/>
                </a:cubicBezTo>
                <a:cubicBezTo>
                  <a:pt x="1574" y="283"/>
                  <a:pt x="1583" y="289"/>
                  <a:pt x="1590" y="296"/>
                </a:cubicBezTo>
                <a:cubicBezTo>
                  <a:pt x="1597" y="304"/>
                  <a:pt x="1611" y="314"/>
                  <a:pt x="1620" y="319"/>
                </a:cubicBezTo>
                <a:cubicBezTo>
                  <a:pt x="1637" y="327"/>
                  <a:pt x="1652" y="341"/>
                  <a:pt x="1652" y="348"/>
                </a:cubicBezTo>
                <a:cubicBezTo>
                  <a:pt x="1652" y="350"/>
                  <a:pt x="1649" y="354"/>
                  <a:pt x="1646" y="356"/>
                </a:cubicBezTo>
                <a:cubicBezTo>
                  <a:pt x="1640" y="361"/>
                  <a:pt x="1640" y="362"/>
                  <a:pt x="1647" y="373"/>
                </a:cubicBezTo>
                <a:cubicBezTo>
                  <a:pt x="1652" y="379"/>
                  <a:pt x="1657" y="391"/>
                  <a:pt x="1658" y="399"/>
                </a:cubicBezTo>
                <a:cubicBezTo>
                  <a:pt x="1661" y="412"/>
                  <a:pt x="1660" y="414"/>
                  <a:pt x="1649" y="418"/>
                </a:cubicBezTo>
                <a:cubicBezTo>
                  <a:pt x="1642" y="420"/>
                  <a:pt x="1635" y="426"/>
                  <a:pt x="1632" y="430"/>
                </a:cubicBezTo>
                <a:cubicBezTo>
                  <a:pt x="1630" y="435"/>
                  <a:pt x="1624" y="439"/>
                  <a:pt x="1620" y="439"/>
                </a:cubicBezTo>
                <a:cubicBezTo>
                  <a:pt x="1609" y="439"/>
                  <a:pt x="1610" y="446"/>
                  <a:pt x="1622" y="460"/>
                </a:cubicBezTo>
                <a:cubicBezTo>
                  <a:pt x="1628" y="466"/>
                  <a:pt x="1633" y="478"/>
                  <a:pt x="1634" y="485"/>
                </a:cubicBezTo>
                <a:cubicBezTo>
                  <a:pt x="1636" y="494"/>
                  <a:pt x="1641" y="501"/>
                  <a:pt x="1650" y="507"/>
                </a:cubicBezTo>
                <a:cubicBezTo>
                  <a:pt x="1678" y="526"/>
                  <a:pt x="1678" y="567"/>
                  <a:pt x="1650" y="615"/>
                </a:cubicBezTo>
                <a:cubicBezTo>
                  <a:pt x="1617" y="672"/>
                  <a:pt x="1614" y="675"/>
                  <a:pt x="1597" y="673"/>
                </a:cubicBezTo>
                <a:cubicBezTo>
                  <a:pt x="1588" y="672"/>
                  <a:pt x="1577" y="668"/>
                  <a:pt x="1571" y="665"/>
                </a:cubicBezTo>
                <a:cubicBezTo>
                  <a:pt x="1560" y="658"/>
                  <a:pt x="1560" y="658"/>
                  <a:pt x="1560" y="658"/>
                </a:cubicBezTo>
                <a:cubicBezTo>
                  <a:pt x="1566" y="673"/>
                  <a:pt x="1566" y="673"/>
                  <a:pt x="1566" y="673"/>
                </a:cubicBezTo>
                <a:cubicBezTo>
                  <a:pt x="1573" y="689"/>
                  <a:pt x="1569" y="697"/>
                  <a:pt x="1555" y="692"/>
                </a:cubicBezTo>
                <a:cubicBezTo>
                  <a:pt x="1540" y="687"/>
                  <a:pt x="1534" y="688"/>
                  <a:pt x="1528" y="693"/>
                </a:cubicBezTo>
                <a:cubicBezTo>
                  <a:pt x="1522" y="698"/>
                  <a:pt x="1519" y="698"/>
                  <a:pt x="1508" y="693"/>
                </a:cubicBezTo>
                <a:cubicBezTo>
                  <a:pt x="1500" y="690"/>
                  <a:pt x="1491" y="683"/>
                  <a:pt x="1488" y="679"/>
                </a:cubicBezTo>
                <a:cubicBezTo>
                  <a:pt x="1483" y="672"/>
                  <a:pt x="1480" y="671"/>
                  <a:pt x="1466" y="673"/>
                </a:cubicBezTo>
                <a:cubicBezTo>
                  <a:pt x="1457" y="674"/>
                  <a:pt x="1447" y="677"/>
                  <a:pt x="1443" y="679"/>
                </a:cubicBezTo>
                <a:cubicBezTo>
                  <a:pt x="1437" y="683"/>
                  <a:pt x="1437" y="684"/>
                  <a:pt x="1450" y="697"/>
                </a:cubicBezTo>
                <a:cubicBezTo>
                  <a:pt x="1464" y="709"/>
                  <a:pt x="1465" y="711"/>
                  <a:pt x="1462" y="727"/>
                </a:cubicBezTo>
                <a:cubicBezTo>
                  <a:pt x="1460" y="739"/>
                  <a:pt x="1453" y="751"/>
                  <a:pt x="1438" y="769"/>
                </a:cubicBezTo>
                <a:cubicBezTo>
                  <a:pt x="1426" y="783"/>
                  <a:pt x="1415" y="799"/>
                  <a:pt x="1414" y="805"/>
                </a:cubicBezTo>
                <a:cubicBezTo>
                  <a:pt x="1412" y="810"/>
                  <a:pt x="1409" y="815"/>
                  <a:pt x="1407" y="815"/>
                </a:cubicBezTo>
                <a:cubicBezTo>
                  <a:pt x="1404" y="815"/>
                  <a:pt x="1407" y="819"/>
                  <a:pt x="1414" y="824"/>
                </a:cubicBezTo>
                <a:cubicBezTo>
                  <a:pt x="1423" y="831"/>
                  <a:pt x="1425" y="835"/>
                  <a:pt x="1424" y="849"/>
                </a:cubicBezTo>
                <a:cubicBezTo>
                  <a:pt x="1423" y="857"/>
                  <a:pt x="1420" y="869"/>
                  <a:pt x="1416" y="875"/>
                </a:cubicBezTo>
                <a:cubicBezTo>
                  <a:pt x="1412" y="880"/>
                  <a:pt x="1406" y="890"/>
                  <a:pt x="1402" y="897"/>
                </a:cubicBezTo>
                <a:cubicBezTo>
                  <a:pt x="1397" y="903"/>
                  <a:pt x="1386" y="922"/>
                  <a:pt x="1376" y="939"/>
                </a:cubicBezTo>
                <a:cubicBezTo>
                  <a:pt x="1356" y="975"/>
                  <a:pt x="1349" y="979"/>
                  <a:pt x="1310" y="979"/>
                </a:cubicBezTo>
                <a:cubicBezTo>
                  <a:pt x="1282" y="979"/>
                  <a:pt x="1274" y="984"/>
                  <a:pt x="1271" y="1007"/>
                </a:cubicBezTo>
                <a:cubicBezTo>
                  <a:pt x="1270" y="1020"/>
                  <a:pt x="1270" y="1021"/>
                  <a:pt x="1252" y="1020"/>
                </a:cubicBezTo>
                <a:cubicBezTo>
                  <a:pt x="1242" y="1020"/>
                  <a:pt x="1229" y="1019"/>
                  <a:pt x="1223" y="1018"/>
                </a:cubicBezTo>
                <a:cubicBezTo>
                  <a:pt x="1207" y="1014"/>
                  <a:pt x="1206" y="1021"/>
                  <a:pt x="1221" y="1031"/>
                </a:cubicBezTo>
                <a:cubicBezTo>
                  <a:pt x="1228" y="1036"/>
                  <a:pt x="1235" y="1040"/>
                  <a:pt x="1236" y="1041"/>
                </a:cubicBezTo>
                <a:cubicBezTo>
                  <a:pt x="1240" y="1044"/>
                  <a:pt x="1240" y="1076"/>
                  <a:pt x="1236" y="1088"/>
                </a:cubicBezTo>
                <a:cubicBezTo>
                  <a:pt x="1231" y="1104"/>
                  <a:pt x="1216" y="1112"/>
                  <a:pt x="1188" y="1113"/>
                </a:cubicBezTo>
                <a:cubicBezTo>
                  <a:pt x="1157" y="1114"/>
                  <a:pt x="1158" y="1114"/>
                  <a:pt x="1165" y="1124"/>
                </a:cubicBezTo>
                <a:cubicBezTo>
                  <a:pt x="1171" y="1132"/>
                  <a:pt x="1170" y="1133"/>
                  <a:pt x="1157" y="1147"/>
                </a:cubicBezTo>
                <a:cubicBezTo>
                  <a:pt x="1136" y="1166"/>
                  <a:pt x="1113" y="1197"/>
                  <a:pt x="1102" y="1219"/>
                </a:cubicBezTo>
                <a:cubicBezTo>
                  <a:pt x="1097" y="1228"/>
                  <a:pt x="1089" y="1240"/>
                  <a:pt x="1084" y="1245"/>
                </a:cubicBezTo>
                <a:cubicBezTo>
                  <a:pt x="1074" y="1254"/>
                  <a:pt x="1064" y="1271"/>
                  <a:pt x="1064" y="1281"/>
                </a:cubicBezTo>
                <a:cubicBezTo>
                  <a:pt x="1064" y="1285"/>
                  <a:pt x="1055" y="1308"/>
                  <a:pt x="1043" y="1332"/>
                </a:cubicBezTo>
                <a:cubicBezTo>
                  <a:pt x="1026" y="1369"/>
                  <a:pt x="1023" y="1379"/>
                  <a:pt x="1023" y="1397"/>
                </a:cubicBezTo>
                <a:cubicBezTo>
                  <a:pt x="1024" y="1419"/>
                  <a:pt x="1024" y="1419"/>
                  <a:pt x="1024" y="1419"/>
                </a:cubicBezTo>
                <a:cubicBezTo>
                  <a:pt x="1007" y="1419"/>
                  <a:pt x="1007" y="1419"/>
                  <a:pt x="1007" y="1419"/>
                </a:cubicBezTo>
                <a:cubicBezTo>
                  <a:pt x="997" y="1419"/>
                  <a:pt x="989" y="1418"/>
                  <a:pt x="988" y="1417"/>
                </a:cubicBezTo>
                <a:close/>
              </a:path>
            </a:pathLst>
          </a:custGeom>
          <a:solidFill>
            <a:srgbClr val="D3D3D3"/>
          </a:solidFill>
          <a:ln w="22225" cap="flat">
            <a:solidFill>
              <a:srgbClr val="D3D3D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55" name="Freeform 30"/>
          <p:cNvSpPr>
            <a:spLocks/>
          </p:cNvSpPr>
          <p:nvPr userDrawn="1"/>
        </p:nvSpPr>
        <p:spPr bwMode="grayWhite">
          <a:xfrm>
            <a:off x="4690433" y="-771636"/>
            <a:ext cx="98425" cy="134939"/>
          </a:xfrm>
          <a:custGeom>
            <a:avLst/>
            <a:gdLst>
              <a:gd name="T0" fmla="*/ 22 w 68"/>
              <a:gd name="T1" fmla="*/ 86 h 94"/>
              <a:gd name="T2" fmla="*/ 23 w 68"/>
              <a:gd name="T3" fmla="*/ 10 h 94"/>
              <a:gd name="T4" fmla="*/ 55 w 68"/>
              <a:gd name="T5" fmla="*/ 12 h 94"/>
              <a:gd name="T6" fmla="*/ 45 w 68"/>
              <a:gd name="T7" fmla="*/ 85 h 94"/>
              <a:gd name="T8" fmla="*/ 22 w 68"/>
              <a:gd name="T9" fmla="*/ 86 h 94"/>
            </a:gdLst>
            <a:ahLst/>
            <a:cxnLst>
              <a:cxn ang="0">
                <a:pos x="T0" y="T1"/>
              </a:cxn>
              <a:cxn ang="0">
                <a:pos x="T2" y="T3"/>
              </a:cxn>
              <a:cxn ang="0">
                <a:pos x="T4" y="T5"/>
              </a:cxn>
              <a:cxn ang="0">
                <a:pos x="T6" y="T7"/>
              </a:cxn>
              <a:cxn ang="0">
                <a:pos x="T8" y="T9"/>
              </a:cxn>
            </a:cxnLst>
            <a:rect l="0" t="0" r="r" b="b"/>
            <a:pathLst>
              <a:path w="68" h="94">
                <a:moveTo>
                  <a:pt x="22" y="86"/>
                </a:moveTo>
                <a:cubicBezTo>
                  <a:pt x="0" y="73"/>
                  <a:pt x="1" y="33"/>
                  <a:pt x="23" y="10"/>
                </a:cubicBezTo>
                <a:cubicBezTo>
                  <a:pt x="32" y="0"/>
                  <a:pt x="42" y="0"/>
                  <a:pt x="55" y="12"/>
                </a:cubicBezTo>
                <a:cubicBezTo>
                  <a:pt x="68" y="23"/>
                  <a:pt x="62" y="69"/>
                  <a:pt x="45" y="85"/>
                </a:cubicBezTo>
                <a:cubicBezTo>
                  <a:pt x="35" y="94"/>
                  <a:pt x="35" y="94"/>
                  <a:pt x="22" y="86"/>
                </a:cubicBezTo>
                <a:close/>
              </a:path>
            </a:pathLst>
          </a:custGeom>
          <a:solidFill>
            <a:srgbClr val="D3D3D3"/>
          </a:solidFill>
          <a:ln w="22225" cap="flat">
            <a:solidFill>
              <a:srgbClr val="D3D3D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48" name="Freeform 31"/>
          <p:cNvSpPr>
            <a:spLocks/>
          </p:cNvSpPr>
          <p:nvPr userDrawn="1"/>
        </p:nvSpPr>
        <p:spPr bwMode="grayWhite">
          <a:xfrm>
            <a:off x="4411033" y="-830372"/>
            <a:ext cx="163513" cy="130175"/>
          </a:xfrm>
          <a:custGeom>
            <a:avLst/>
            <a:gdLst>
              <a:gd name="T0" fmla="*/ 9 w 114"/>
              <a:gd name="T1" fmla="*/ 82 h 90"/>
              <a:gd name="T2" fmla="*/ 33 w 114"/>
              <a:gd name="T3" fmla="*/ 12 h 90"/>
              <a:gd name="T4" fmla="*/ 84 w 114"/>
              <a:gd name="T5" fmla="*/ 1 h 90"/>
              <a:gd name="T6" fmla="*/ 109 w 114"/>
              <a:gd name="T7" fmla="*/ 13 h 90"/>
              <a:gd name="T8" fmla="*/ 101 w 114"/>
              <a:gd name="T9" fmla="*/ 45 h 90"/>
              <a:gd name="T10" fmla="*/ 35 w 114"/>
              <a:gd name="T11" fmla="*/ 89 h 90"/>
              <a:gd name="T12" fmla="*/ 9 w 114"/>
              <a:gd name="T13" fmla="*/ 82 h 90"/>
            </a:gdLst>
            <a:ahLst/>
            <a:cxnLst>
              <a:cxn ang="0">
                <a:pos x="T0" y="T1"/>
              </a:cxn>
              <a:cxn ang="0">
                <a:pos x="T2" y="T3"/>
              </a:cxn>
              <a:cxn ang="0">
                <a:pos x="T4" y="T5"/>
              </a:cxn>
              <a:cxn ang="0">
                <a:pos x="T6" y="T7"/>
              </a:cxn>
              <a:cxn ang="0">
                <a:pos x="T8" y="T9"/>
              </a:cxn>
              <a:cxn ang="0">
                <a:pos x="T10" y="T11"/>
              </a:cxn>
              <a:cxn ang="0">
                <a:pos x="T12" y="T13"/>
              </a:cxn>
            </a:cxnLst>
            <a:rect l="0" t="0" r="r" b="b"/>
            <a:pathLst>
              <a:path w="114" h="90">
                <a:moveTo>
                  <a:pt x="9" y="82"/>
                </a:moveTo>
                <a:cubicBezTo>
                  <a:pt x="0" y="65"/>
                  <a:pt x="13" y="25"/>
                  <a:pt x="33" y="12"/>
                </a:cubicBezTo>
                <a:cubicBezTo>
                  <a:pt x="48" y="1"/>
                  <a:pt x="53" y="0"/>
                  <a:pt x="84" y="1"/>
                </a:cubicBezTo>
                <a:cubicBezTo>
                  <a:pt x="102" y="2"/>
                  <a:pt x="105" y="3"/>
                  <a:pt x="109" y="13"/>
                </a:cubicBezTo>
                <a:cubicBezTo>
                  <a:pt x="114" y="24"/>
                  <a:pt x="113" y="27"/>
                  <a:pt x="101" y="45"/>
                </a:cubicBezTo>
                <a:cubicBezTo>
                  <a:pt x="85" y="71"/>
                  <a:pt x="61" y="87"/>
                  <a:pt x="35" y="89"/>
                </a:cubicBezTo>
                <a:cubicBezTo>
                  <a:pt x="17" y="90"/>
                  <a:pt x="13" y="89"/>
                  <a:pt x="9" y="82"/>
                </a:cubicBezTo>
                <a:close/>
              </a:path>
            </a:pathLst>
          </a:custGeom>
          <a:solidFill>
            <a:srgbClr val="D3D3D3"/>
          </a:solidFill>
          <a:ln w="22225" cap="flat">
            <a:solidFill>
              <a:srgbClr val="D3D3D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49" name="Freeform 32"/>
          <p:cNvSpPr>
            <a:spLocks/>
          </p:cNvSpPr>
          <p:nvPr userDrawn="1"/>
        </p:nvSpPr>
        <p:spPr bwMode="grayWhite">
          <a:xfrm>
            <a:off x="4161794" y="-1305035"/>
            <a:ext cx="514351" cy="469900"/>
          </a:xfrm>
          <a:custGeom>
            <a:avLst/>
            <a:gdLst>
              <a:gd name="T0" fmla="*/ 93 w 358"/>
              <a:gd name="T1" fmla="*/ 325 h 327"/>
              <a:gd name="T2" fmla="*/ 86 w 358"/>
              <a:gd name="T3" fmla="*/ 305 h 327"/>
              <a:gd name="T4" fmla="*/ 81 w 358"/>
              <a:gd name="T5" fmla="*/ 281 h 327"/>
              <a:gd name="T6" fmla="*/ 54 w 358"/>
              <a:gd name="T7" fmla="*/ 276 h 327"/>
              <a:gd name="T8" fmla="*/ 26 w 358"/>
              <a:gd name="T9" fmla="*/ 237 h 327"/>
              <a:gd name="T10" fmla="*/ 43 w 358"/>
              <a:gd name="T11" fmla="*/ 191 h 327"/>
              <a:gd name="T12" fmla="*/ 59 w 358"/>
              <a:gd name="T13" fmla="*/ 26 h 327"/>
              <a:gd name="T14" fmla="*/ 78 w 358"/>
              <a:gd name="T15" fmla="*/ 2 h 327"/>
              <a:gd name="T16" fmla="*/ 101 w 358"/>
              <a:gd name="T17" fmla="*/ 11 h 327"/>
              <a:gd name="T18" fmla="*/ 117 w 358"/>
              <a:gd name="T19" fmla="*/ 40 h 327"/>
              <a:gd name="T20" fmla="*/ 136 w 358"/>
              <a:gd name="T21" fmla="*/ 57 h 327"/>
              <a:gd name="T22" fmla="*/ 182 w 358"/>
              <a:gd name="T23" fmla="*/ 81 h 327"/>
              <a:gd name="T24" fmla="*/ 241 w 358"/>
              <a:gd name="T25" fmla="*/ 121 h 327"/>
              <a:gd name="T26" fmla="*/ 266 w 358"/>
              <a:gd name="T27" fmla="*/ 145 h 327"/>
              <a:gd name="T28" fmla="*/ 276 w 358"/>
              <a:gd name="T29" fmla="*/ 167 h 327"/>
              <a:gd name="T30" fmla="*/ 286 w 358"/>
              <a:gd name="T31" fmla="*/ 190 h 327"/>
              <a:gd name="T32" fmla="*/ 307 w 358"/>
              <a:gd name="T33" fmla="*/ 194 h 327"/>
              <a:gd name="T34" fmla="*/ 343 w 358"/>
              <a:gd name="T35" fmla="*/ 203 h 327"/>
              <a:gd name="T36" fmla="*/ 356 w 358"/>
              <a:gd name="T37" fmla="*/ 229 h 327"/>
              <a:gd name="T38" fmla="*/ 335 w 358"/>
              <a:gd name="T39" fmla="*/ 263 h 327"/>
              <a:gd name="T40" fmla="*/ 302 w 358"/>
              <a:gd name="T41" fmla="*/ 264 h 327"/>
              <a:gd name="T42" fmla="*/ 269 w 358"/>
              <a:gd name="T43" fmla="*/ 258 h 327"/>
              <a:gd name="T44" fmla="*/ 246 w 358"/>
              <a:gd name="T45" fmla="*/ 251 h 327"/>
              <a:gd name="T46" fmla="*/ 239 w 358"/>
              <a:gd name="T47" fmla="*/ 234 h 327"/>
              <a:gd name="T48" fmla="*/ 196 w 358"/>
              <a:gd name="T49" fmla="*/ 213 h 327"/>
              <a:gd name="T50" fmla="*/ 190 w 358"/>
              <a:gd name="T51" fmla="*/ 227 h 327"/>
              <a:gd name="T52" fmla="*/ 171 w 358"/>
              <a:gd name="T53" fmla="*/ 269 h 327"/>
              <a:gd name="T54" fmla="*/ 151 w 358"/>
              <a:gd name="T55" fmla="*/ 291 h 327"/>
              <a:gd name="T56" fmla="*/ 119 w 358"/>
              <a:gd name="T57" fmla="*/ 325 h 327"/>
              <a:gd name="T58" fmla="*/ 93 w 358"/>
              <a:gd name="T59" fmla="*/ 32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8" h="327">
                <a:moveTo>
                  <a:pt x="93" y="325"/>
                </a:moveTo>
                <a:cubicBezTo>
                  <a:pt x="88" y="324"/>
                  <a:pt x="86" y="320"/>
                  <a:pt x="86" y="305"/>
                </a:cubicBezTo>
                <a:cubicBezTo>
                  <a:pt x="86" y="295"/>
                  <a:pt x="84" y="284"/>
                  <a:pt x="81" y="281"/>
                </a:cubicBezTo>
                <a:cubicBezTo>
                  <a:pt x="79" y="279"/>
                  <a:pt x="67" y="276"/>
                  <a:pt x="54" y="276"/>
                </a:cubicBezTo>
                <a:cubicBezTo>
                  <a:pt x="7" y="275"/>
                  <a:pt x="0" y="265"/>
                  <a:pt x="26" y="237"/>
                </a:cubicBezTo>
                <a:cubicBezTo>
                  <a:pt x="41" y="220"/>
                  <a:pt x="44" y="213"/>
                  <a:pt x="43" y="191"/>
                </a:cubicBezTo>
                <a:cubicBezTo>
                  <a:pt x="41" y="112"/>
                  <a:pt x="43" y="87"/>
                  <a:pt x="59" y="26"/>
                </a:cubicBezTo>
                <a:cubicBezTo>
                  <a:pt x="63" y="7"/>
                  <a:pt x="65" y="5"/>
                  <a:pt x="78" y="2"/>
                </a:cubicBezTo>
                <a:cubicBezTo>
                  <a:pt x="90" y="0"/>
                  <a:pt x="93" y="1"/>
                  <a:pt x="101" y="11"/>
                </a:cubicBezTo>
                <a:cubicBezTo>
                  <a:pt x="106" y="17"/>
                  <a:pt x="113" y="30"/>
                  <a:pt x="117" y="40"/>
                </a:cubicBezTo>
                <a:cubicBezTo>
                  <a:pt x="123" y="54"/>
                  <a:pt x="126" y="57"/>
                  <a:pt x="136" y="57"/>
                </a:cubicBezTo>
                <a:cubicBezTo>
                  <a:pt x="144" y="57"/>
                  <a:pt x="160" y="65"/>
                  <a:pt x="182" y="81"/>
                </a:cubicBezTo>
                <a:cubicBezTo>
                  <a:pt x="201" y="94"/>
                  <a:pt x="227" y="112"/>
                  <a:pt x="241" y="121"/>
                </a:cubicBezTo>
                <a:cubicBezTo>
                  <a:pt x="255" y="131"/>
                  <a:pt x="266" y="141"/>
                  <a:pt x="266" y="145"/>
                </a:cubicBezTo>
                <a:cubicBezTo>
                  <a:pt x="266" y="148"/>
                  <a:pt x="271" y="158"/>
                  <a:pt x="276" y="167"/>
                </a:cubicBezTo>
                <a:cubicBezTo>
                  <a:pt x="281" y="175"/>
                  <a:pt x="286" y="186"/>
                  <a:pt x="286" y="190"/>
                </a:cubicBezTo>
                <a:cubicBezTo>
                  <a:pt x="286" y="196"/>
                  <a:pt x="289" y="196"/>
                  <a:pt x="307" y="194"/>
                </a:cubicBezTo>
                <a:cubicBezTo>
                  <a:pt x="326" y="192"/>
                  <a:pt x="330" y="193"/>
                  <a:pt x="343" y="203"/>
                </a:cubicBezTo>
                <a:cubicBezTo>
                  <a:pt x="356" y="213"/>
                  <a:pt x="358" y="216"/>
                  <a:pt x="356" y="229"/>
                </a:cubicBezTo>
                <a:cubicBezTo>
                  <a:pt x="354" y="249"/>
                  <a:pt x="352" y="254"/>
                  <a:pt x="335" y="263"/>
                </a:cubicBezTo>
                <a:cubicBezTo>
                  <a:pt x="320" y="271"/>
                  <a:pt x="320" y="271"/>
                  <a:pt x="302" y="264"/>
                </a:cubicBezTo>
                <a:cubicBezTo>
                  <a:pt x="291" y="259"/>
                  <a:pt x="279" y="257"/>
                  <a:pt x="269" y="258"/>
                </a:cubicBezTo>
                <a:cubicBezTo>
                  <a:pt x="258" y="259"/>
                  <a:pt x="253" y="258"/>
                  <a:pt x="246" y="251"/>
                </a:cubicBezTo>
                <a:cubicBezTo>
                  <a:pt x="241" y="246"/>
                  <a:pt x="238" y="238"/>
                  <a:pt x="239" y="234"/>
                </a:cubicBezTo>
                <a:cubicBezTo>
                  <a:pt x="241" y="224"/>
                  <a:pt x="205" y="205"/>
                  <a:pt x="196" y="213"/>
                </a:cubicBezTo>
                <a:cubicBezTo>
                  <a:pt x="193" y="215"/>
                  <a:pt x="190" y="222"/>
                  <a:pt x="190" y="227"/>
                </a:cubicBezTo>
                <a:cubicBezTo>
                  <a:pt x="190" y="241"/>
                  <a:pt x="183" y="257"/>
                  <a:pt x="171" y="269"/>
                </a:cubicBezTo>
                <a:cubicBezTo>
                  <a:pt x="165" y="275"/>
                  <a:pt x="156" y="285"/>
                  <a:pt x="151" y="291"/>
                </a:cubicBezTo>
                <a:cubicBezTo>
                  <a:pt x="139" y="308"/>
                  <a:pt x="123" y="324"/>
                  <a:pt x="119" y="325"/>
                </a:cubicBezTo>
                <a:cubicBezTo>
                  <a:pt x="109" y="327"/>
                  <a:pt x="99" y="327"/>
                  <a:pt x="93" y="325"/>
                </a:cubicBezTo>
                <a:close/>
              </a:path>
            </a:pathLst>
          </a:custGeom>
          <a:solidFill>
            <a:srgbClr val="D3D3D3"/>
          </a:solidFill>
          <a:ln w="22225" cap="flat">
            <a:solidFill>
              <a:srgbClr val="D3D3D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95" name="Freeform 33"/>
          <p:cNvSpPr>
            <a:spLocks/>
          </p:cNvSpPr>
          <p:nvPr userDrawn="1"/>
        </p:nvSpPr>
        <p:spPr bwMode="grayWhite">
          <a:xfrm>
            <a:off x="3410906" y="-1976549"/>
            <a:ext cx="223839" cy="242888"/>
          </a:xfrm>
          <a:custGeom>
            <a:avLst/>
            <a:gdLst>
              <a:gd name="T0" fmla="*/ 90 w 156"/>
              <a:gd name="T1" fmla="*/ 162 h 169"/>
              <a:gd name="T2" fmla="*/ 42 w 156"/>
              <a:gd name="T3" fmla="*/ 131 h 169"/>
              <a:gd name="T4" fmla="*/ 27 w 156"/>
              <a:gd name="T5" fmla="*/ 120 h 169"/>
              <a:gd name="T6" fmla="*/ 0 w 156"/>
              <a:gd name="T7" fmla="*/ 95 h 169"/>
              <a:gd name="T8" fmla="*/ 71 w 156"/>
              <a:gd name="T9" fmla="*/ 0 h 169"/>
              <a:gd name="T10" fmla="*/ 129 w 156"/>
              <a:gd name="T11" fmla="*/ 60 h 169"/>
              <a:gd name="T12" fmla="*/ 156 w 156"/>
              <a:gd name="T13" fmla="*/ 137 h 169"/>
              <a:gd name="T14" fmla="*/ 141 w 156"/>
              <a:gd name="T15" fmla="*/ 158 h 169"/>
              <a:gd name="T16" fmla="*/ 90 w 156"/>
              <a:gd name="T17" fmla="*/ 16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69">
                <a:moveTo>
                  <a:pt x="90" y="162"/>
                </a:moveTo>
                <a:cubicBezTo>
                  <a:pt x="76" y="158"/>
                  <a:pt x="59" y="147"/>
                  <a:pt x="42" y="131"/>
                </a:cubicBezTo>
                <a:cubicBezTo>
                  <a:pt x="36" y="125"/>
                  <a:pt x="29" y="120"/>
                  <a:pt x="27" y="120"/>
                </a:cubicBezTo>
                <a:cubicBezTo>
                  <a:pt x="19" y="120"/>
                  <a:pt x="0" y="102"/>
                  <a:pt x="0" y="95"/>
                </a:cubicBezTo>
                <a:cubicBezTo>
                  <a:pt x="0" y="85"/>
                  <a:pt x="64" y="0"/>
                  <a:pt x="71" y="0"/>
                </a:cubicBezTo>
                <a:cubicBezTo>
                  <a:pt x="81" y="0"/>
                  <a:pt x="118" y="38"/>
                  <a:pt x="129" y="60"/>
                </a:cubicBezTo>
                <a:cubicBezTo>
                  <a:pt x="145" y="93"/>
                  <a:pt x="156" y="125"/>
                  <a:pt x="156" y="137"/>
                </a:cubicBezTo>
                <a:cubicBezTo>
                  <a:pt x="156" y="145"/>
                  <a:pt x="152" y="150"/>
                  <a:pt x="141" y="158"/>
                </a:cubicBezTo>
                <a:cubicBezTo>
                  <a:pt x="125" y="168"/>
                  <a:pt x="112" y="169"/>
                  <a:pt x="90" y="162"/>
                </a:cubicBezTo>
                <a:close/>
              </a:path>
            </a:pathLst>
          </a:custGeom>
          <a:solidFill>
            <a:srgbClr val="D3D3D3"/>
          </a:solidFill>
          <a:ln w="22225" cap="flat">
            <a:solidFill>
              <a:srgbClr val="D3D3D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96" name="Freeform 34"/>
          <p:cNvSpPr>
            <a:spLocks/>
          </p:cNvSpPr>
          <p:nvPr userDrawn="1"/>
        </p:nvSpPr>
        <p:spPr bwMode="grayWhite">
          <a:xfrm>
            <a:off x="3964944" y="-2725849"/>
            <a:ext cx="1857376" cy="1849439"/>
          </a:xfrm>
          <a:custGeom>
            <a:avLst/>
            <a:gdLst>
              <a:gd name="T0" fmla="*/ 1070 w 1292"/>
              <a:gd name="T1" fmla="*/ 1274 h 1288"/>
              <a:gd name="T2" fmla="*/ 940 w 1292"/>
              <a:gd name="T3" fmla="*/ 1225 h 1288"/>
              <a:gd name="T4" fmla="*/ 911 w 1292"/>
              <a:gd name="T5" fmla="*/ 1166 h 1288"/>
              <a:gd name="T6" fmla="*/ 837 w 1292"/>
              <a:gd name="T7" fmla="*/ 1122 h 1288"/>
              <a:gd name="T8" fmla="*/ 730 w 1292"/>
              <a:gd name="T9" fmla="*/ 1106 h 1288"/>
              <a:gd name="T10" fmla="*/ 645 w 1292"/>
              <a:gd name="T11" fmla="*/ 1138 h 1288"/>
              <a:gd name="T12" fmla="*/ 595 w 1292"/>
              <a:gd name="T13" fmla="*/ 1021 h 1288"/>
              <a:gd name="T14" fmla="*/ 717 w 1292"/>
              <a:gd name="T15" fmla="*/ 988 h 1288"/>
              <a:gd name="T16" fmla="*/ 763 w 1292"/>
              <a:gd name="T17" fmla="*/ 933 h 1288"/>
              <a:gd name="T18" fmla="*/ 740 w 1292"/>
              <a:gd name="T19" fmla="*/ 867 h 1288"/>
              <a:gd name="T20" fmla="*/ 780 w 1292"/>
              <a:gd name="T21" fmla="*/ 746 h 1288"/>
              <a:gd name="T22" fmla="*/ 683 w 1292"/>
              <a:gd name="T23" fmla="*/ 619 h 1288"/>
              <a:gd name="T24" fmla="*/ 627 w 1292"/>
              <a:gd name="T25" fmla="*/ 587 h 1288"/>
              <a:gd name="T26" fmla="*/ 596 w 1292"/>
              <a:gd name="T27" fmla="*/ 569 h 1288"/>
              <a:gd name="T28" fmla="*/ 547 w 1292"/>
              <a:gd name="T29" fmla="*/ 542 h 1288"/>
              <a:gd name="T30" fmla="*/ 488 w 1292"/>
              <a:gd name="T31" fmla="*/ 460 h 1288"/>
              <a:gd name="T32" fmla="*/ 442 w 1292"/>
              <a:gd name="T33" fmla="*/ 490 h 1288"/>
              <a:gd name="T34" fmla="*/ 315 w 1292"/>
              <a:gd name="T35" fmla="*/ 503 h 1288"/>
              <a:gd name="T36" fmla="*/ 145 w 1292"/>
              <a:gd name="T37" fmla="*/ 477 h 1288"/>
              <a:gd name="T38" fmla="*/ 19 w 1292"/>
              <a:gd name="T39" fmla="*/ 390 h 1288"/>
              <a:gd name="T40" fmla="*/ 83 w 1292"/>
              <a:gd name="T41" fmla="*/ 372 h 1288"/>
              <a:gd name="T42" fmla="*/ 1 w 1292"/>
              <a:gd name="T43" fmla="*/ 283 h 1288"/>
              <a:gd name="T44" fmla="*/ 192 w 1292"/>
              <a:gd name="T45" fmla="*/ 31 h 1288"/>
              <a:gd name="T46" fmla="*/ 156 w 1292"/>
              <a:gd name="T47" fmla="*/ 113 h 1288"/>
              <a:gd name="T48" fmla="*/ 159 w 1292"/>
              <a:gd name="T49" fmla="*/ 242 h 1288"/>
              <a:gd name="T50" fmla="*/ 180 w 1292"/>
              <a:gd name="T51" fmla="*/ 198 h 1288"/>
              <a:gd name="T52" fmla="*/ 184 w 1292"/>
              <a:gd name="T53" fmla="*/ 113 h 1288"/>
              <a:gd name="T54" fmla="*/ 242 w 1292"/>
              <a:gd name="T55" fmla="*/ 31 h 1288"/>
              <a:gd name="T56" fmla="*/ 373 w 1292"/>
              <a:gd name="T57" fmla="*/ 143 h 1288"/>
              <a:gd name="T58" fmla="*/ 433 w 1292"/>
              <a:gd name="T59" fmla="*/ 157 h 1288"/>
              <a:gd name="T60" fmla="*/ 543 w 1292"/>
              <a:gd name="T61" fmla="*/ 130 h 1288"/>
              <a:gd name="T62" fmla="*/ 609 w 1292"/>
              <a:gd name="T63" fmla="*/ 198 h 1288"/>
              <a:gd name="T64" fmla="*/ 666 w 1292"/>
              <a:gd name="T65" fmla="*/ 251 h 1288"/>
              <a:gd name="T66" fmla="*/ 744 w 1292"/>
              <a:gd name="T67" fmla="*/ 254 h 1288"/>
              <a:gd name="T68" fmla="*/ 809 w 1292"/>
              <a:gd name="T69" fmla="*/ 305 h 1288"/>
              <a:gd name="T70" fmla="*/ 868 w 1292"/>
              <a:gd name="T71" fmla="*/ 369 h 1288"/>
              <a:gd name="T72" fmla="*/ 949 w 1292"/>
              <a:gd name="T73" fmla="*/ 408 h 1288"/>
              <a:gd name="T74" fmla="*/ 991 w 1292"/>
              <a:gd name="T75" fmla="*/ 469 h 1288"/>
              <a:gd name="T76" fmla="*/ 938 w 1292"/>
              <a:gd name="T77" fmla="*/ 496 h 1288"/>
              <a:gd name="T78" fmla="*/ 998 w 1292"/>
              <a:gd name="T79" fmla="*/ 580 h 1288"/>
              <a:gd name="T80" fmla="*/ 1084 w 1292"/>
              <a:gd name="T81" fmla="*/ 599 h 1288"/>
              <a:gd name="T82" fmla="*/ 1167 w 1292"/>
              <a:gd name="T83" fmla="*/ 642 h 1288"/>
              <a:gd name="T84" fmla="*/ 1201 w 1292"/>
              <a:gd name="T85" fmla="*/ 673 h 1288"/>
              <a:gd name="T86" fmla="*/ 1274 w 1292"/>
              <a:gd name="T87" fmla="*/ 664 h 1288"/>
              <a:gd name="T88" fmla="*/ 1278 w 1292"/>
              <a:gd name="T89" fmla="*/ 758 h 1288"/>
              <a:gd name="T90" fmla="*/ 1253 w 1292"/>
              <a:gd name="T91" fmla="*/ 838 h 1288"/>
              <a:gd name="T92" fmla="*/ 1255 w 1292"/>
              <a:gd name="T93" fmla="*/ 909 h 1288"/>
              <a:gd name="T94" fmla="*/ 1157 w 1292"/>
              <a:gd name="T95" fmla="*/ 871 h 1288"/>
              <a:gd name="T96" fmla="*/ 1051 w 1292"/>
              <a:gd name="T97" fmla="*/ 801 h 1288"/>
              <a:gd name="T98" fmla="*/ 1041 w 1292"/>
              <a:gd name="T99" fmla="*/ 825 h 1288"/>
              <a:gd name="T100" fmla="*/ 1039 w 1292"/>
              <a:gd name="T101" fmla="*/ 881 h 1288"/>
              <a:gd name="T102" fmla="*/ 1158 w 1292"/>
              <a:gd name="T103" fmla="*/ 953 h 1288"/>
              <a:gd name="T104" fmla="*/ 1205 w 1292"/>
              <a:gd name="T105" fmla="*/ 1001 h 1288"/>
              <a:gd name="T106" fmla="*/ 1271 w 1292"/>
              <a:gd name="T107" fmla="*/ 1130 h 1288"/>
              <a:gd name="T108" fmla="*/ 1105 w 1292"/>
              <a:gd name="T109" fmla="*/ 1126 h 1288"/>
              <a:gd name="T110" fmla="*/ 1085 w 1292"/>
              <a:gd name="T111" fmla="*/ 1147 h 1288"/>
              <a:gd name="T112" fmla="*/ 1239 w 1292"/>
              <a:gd name="T113" fmla="*/ 1240 h 1288"/>
              <a:gd name="T114" fmla="*/ 1214 w 1292"/>
              <a:gd name="T115" fmla="*/ 1288 h 1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92" h="1288">
                <a:moveTo>
                  <a:pt x="1190" y="1287"/>
                </a:moveTo>
                <a:cubicBezTo>
                  <a:pt x="1189" y="1286"/>
                  <a:pt x="1164" y="1285"/>
                  <a:pt x="1134" y="1284"/>
                </a:cubicBezTo>
                <a:cubicBezTo>
                  <a:pt x="1090" y="1282"/>
                  <a:pt x="1077" y="1280"/>
                  <a:pt x="1070" y="1274"/>
                </a:cubicBezTo>
                <a:cubicBezTo>
                  <a:pt x="1066" y="1271"/>
                  <a:pt x="1056" y="1263"/>
                  <a:pt x="1049" y="1257"/>
                </a:cubicBezTo>
                <a:cubicBezTo>
                  <a:pt x="1039" y="1248"/>
                  <a:pt x="1033" y="1246"/>
                  <a:pt x="1017" y="1247"/>
                </a:cubicBezTo>
                <a:cubicBezTo>
                  <a:pt x="995" y="1248"/>
                  <a:pt x="982" y="1245"/>
                  <a:pt x="940" y="1225"/>
                </a:cubicBezTo>
                <a:cubicBezTo>
                  <a:pt x="915" y="1213"/>
                  <a:pt x="911" y="1210"/>
                  <a:pt x="907" y="1196"/>
                </a:cubicBezTo>
                <a:cubicBezTo>
                  <a:pt x="902" y="1183"/>
                  <a:pt x="902" y="1180"/>
                  <a:pt x="908" y="1177"/>
                </a:cubicBezTo>
                <a:cubicBezTo>
                  <a:pt x="916" y="1173"/>
                  <a:pt x="918" y="1166"/>
                  <a:pt x="911" y="1166"/>
                </a:cubicBezTo>
                <a:cubicBezTo>
                  <a:pt x="909" y="1166"/>
                  <a:pt x="898" y="1159"/>
                  <a:pt x="887" y="1152"/>
                </a:cubicBezTo>
                <a:cubicBezTo>
                  <a:pt x="876" y="1144"/>
                  <a:pt x="862" y="1137"/>
                  <a:pt x="855" y="1136"/>
                </a:cubicBezTo>
                <a:cubicBezTo>
                  <a:pt x="847" y="1134"/>
                  <a:pt x="841" y="1129"/>
                  <a:pt x="837" y="1122"/>
                </a:cubicBezTo>
                <a:cubicBezTo>
                  <a:pt x="828" y="1104"/>
                  <a:pt x="808" y="1092"/>
                  <a:pt x="785" y="1090"/>
                </a:cubicBezTo>
                <a:cubicBezTo>
                  <a:pt x="768" y="1088"/>
                  <a:pt x="764" y="1089"/>
                  <a:pt x="756" y="1097"/>
                </a:cubicBezTo>
                <a:cubicBezTo>
                  <a:pt x="750" y="1103"/>
                  <a:pt x="743" y="1106"/>
                  <a:pt x="730" y="1106"/>
                </a:cubicBezTo>
                <a:cubicBezTo>
                  <a:pt x="715" y="1106"/>
                  <a:pt x="710" y="1108"/>
                  <a:pt x="696" y="1122"/>
                </a:cubicBezTo>
                <a:cubicBezTo>
                  <a:pt x="678" y="1138"/>
                  <a:pt x="678" y="1138"/>
                  <a:pt x="678" y="1138"/>
                </a:cubicBezTo>
                <a:cubicBezTo>
                  <a:pt x="645" y="1138"/>
                  <a:pt x="645" y="1138"/>
                  <a:pt x="645" y="1138"/>
                </a:cubicBezTo>
                <a:cubicBezTo>
                  <a:pt x="590" y="1138"/>
                  <a:pt x="578" y="1127"/>
                  <a:pt x="572" y="1078"/>
                </a:cubicBezTo>
                <a:cubicBezTo>
                  <a:pt x="571" y="1061"/>
                  <a:pt x="572" y="1058"/>
                  <a:pt x="583" y="1048"/>
                </a:cubicBezTo>
                <a:cubicBezTo>
                  <a:pt x="592" y="1039"/>
                  <a:pt x="595" y="1033"/>
                  <a:pt x="595" y="1021"/>
                </a:cubicBezTo>
                <a:cubicBezTo>
                  <a:pt x="595" y="1011"/>
                  <a:pt x="597" y="1005"/>
                  <a:pt x="602" y="1002"/>
                </a:cubicBezTo>
                <a:cubicBezTo>
                  <a:pt x="606" y="1000"/>
                  <a:pt x="630" y="998"/>
                  <a:pt x="657" y="998"/>
                </a:cubicBezTo>
                <a:cubicBezTo>
                  <a:pt x="700" y="997"/>
                  <a:pt x="705" y="996"/>
                  <a:pt x="717" y="988"/>
                </a:cubicBezTo>
                <a:cubicBezTo>
                  <a:pt x="734" y="975"/>
                  <a:pt x="753" y="966"/>
                  <a:pt x="763" y="966"/>
                </a:cubicBezTo>
                <a:cubicBezTo>
                  <a:pt x="771" y="966"/>
                  <a:pt x="772" y="964"/>
                  <a:pt x="769" y="957"/>
                </a:cubicBezTo>
                <a:cubicBezTo>
                  <a:pt x="766" y="946"/>
                  <a:pt x="764" y="937"/>
                  <a:pt x="763" y="933"/>
                </a:cubicBezTo>
                <a:cubicBezTo>
                  <a:pt x="763" y="932"/>
                  <a:pt x="756" y="926"/>
                  <a:pt x="747" y="920"/>
                </a:cubicBezTo>
                <a:cubicBezTo>
                  <a:pt x="731" y="909"/>
                  <a:pt x="730" y="908"/>
                  <a:pt x="732" y="893"/>
                </a:cubicBezTo>
                <a:cubicBezTo>
                  <a:pt x="733" y="885"/>
                  <a:pt x="737" y="873"/>
                  <a:pt x="740" y="867"/>
                </a:cubicBezTo>
                <a:cubicBezTo>
                  <a:pt x="743" y="861"/>
                  <a:pt x="755" y="837"/>
                  <a:pt x="767" y="815"/>
                </a:cubicBezTo>
                <a:cubicBezTo>
                  <a:pt x="787" y="774"/>
                  <a:pt x="787" y="774"/>
                  <a:pt x="787" y="774"/>
                </a:cubicBezTo>
                <a:cubicBezTo>
                  <a:pt x="780" y="746"/>
                  <a:pt x="780" y="746"/>
                  <a:pt x="780" y="746"/>
                </a:cubicBezTo>
                <a:cubicBezTo>
                  <a:pt x="772" y="719"/>
                  <a:pt x="749" y="682"/>
                  <a:pt x="729" y="665"/>
                </a:cubicBezTo>
                <a:cubicBezTo>
                  <a:pt x="725" y="662"/>
                  <a:pt x="718" y="653"/>
                  <a:pt x="713" y="645"/>
                </a:cubicBezTo>
                <a:cubicBezTo>
                  <a:pt x="707" y="636"/>
                  <a:pt x="695" y="625"/>
                  <a:pt x="683" y="619"/>
                </a:cubicBezTo>
                <a:cubicBezTo>
                  <a:pt x="667" y="610"/>
                  <a:pt x="663" y="605"/>
                  <a:pt x="660" y="594"/>
                </a:cubicBezTo>
                <a:cubicBezTo>
                  <a:pt x="657" y="581"/>
                  <a:pt x="656" y="580"/>
                  <a:pt x="645" y="581"/>
                </a:cubicBezTo>
                <a:cubicBezTo>
                  <a:pt x="638" y="582"/>
                  <a:pt x="630" y="585"/>
                  <a:pt x="627" y="587"/>
                </a:cubicBezTo>
                <a:cubicBezTo>
                  <a:pt x="624" y="590"/>
                  <a:pt x="614" y="596"/>
                  <a:pt x="605" y="601"/>
                </a:cubicBezTo>
                <a:cubicBezTo>
                  <a:pt x="590" y="608"/>
                  <a:pt x="587" y="608"/>
                  <a:pt x="583" y="604"/>
                </a:cubicBezTo>
                <a:cubicBezTo>
                  <a:pt x="576" y="596"/>
                  <a:pt x="582" y="581"/>
                  <a:pt x="596" y="569"/>
                </a:cubicBezTo>
                <a:cubicBezTo>
                  <a:pt x="609" y="558"/>
                  <a:pt x="609" y="558"/>
                  <a:pt x="601" y="552"/>
                </a:cubicBezTo>
                <a:cubicBezTo>
                  <a:pt x="591" y="544"/>
                  <a:pt x="586" y="544"/>
                  <a:pt x="571" y="552"/>
                </a:cubicBezTo>
                <a:cubicBezTo>
                  <a:pt x="555" y="560"/>
                  <a:pt x="547" y="557"/>
                  <a:pt x="547" y="542"/>
                </a:cubicBezTo>
                <a:cubicBezTo>
                  <a:pt x="547" y="535"/>
                  <a:pt x="550" y="530"/>
                  <a:pt x="555" y="527"/>
                </a:cubicBezTo>
                <a:cubicBezTo>
                  <a:pt x="563" y="524"/>
                  <a:pt x="562" y="522"/>
                  <a:pt x="544" y="505"/>
                </a:cubicBezTo>
                <a:cubicBezTo>
                  <a:pt x="512" y="473"/>
                  <a:pt x="493" y="459"/>
                  <a:pt x="488" y="460"/>
                </a:cubicBezTo>
                <a:cubicBezTo>
                  <a:pt x="485" y="461"/>
                  <a:pt x="483" y="468"/>
                  <a:pt x="483" y="476"/>
                </a:cubicBezTo>
                <a:cubicBezTo>
                  <a:pt x="483" y="490"/>
                  <a:pt x="483" y="490"/>
                  <a:pt x="483" y="490"/>
                </a:cubicBezTo>
                <a:cubicBezTo>
                  <a:pt x="442" y="490"/>
                  <a:pt x="442" y="490"/>
                  <a:pt x="442" y="490"/>
                </a:cubicBezTo>
                <a:cubicBezTo>
                  <a:pt x="420" y="491"/>
                  <a:pt x="389" y="491"/>
                  <a:pt x="375" y="491"/>
                </a:cubicBezTo>
                <a:cubicBezTo>
                  <a:pt x="352" y="490"/>
                  <a:pt x="348" y="491"/>
                  <a:pt x="349" y="497"/>
                </a:cubicBezTo>
                <a:cubicBezTo>
                  <a:pt x="349" y="503"/>
                  <a:pt x="344" y="503"/>
                  <a:pt x="315" y="503"/>
                </a:cubicBezTo>
                <a:cubicBezTo>
                  <a:pt x="296" y="503"/>
                  <a:pt x="262" y="501"/>
                  <a:pt x="239" y="500"/>
                </a:cubicBezTo>
                <a:cubicBezTo>
                  <a:pt x="213" y="498"/>
                  <a:pt x="192" y="498"/>
                  <a:pt x="183" y="501"/>
                </a:cubicBezTo>
                <a:cubicBezTo>
                  <a:pt x="165" y="505"/>
                  <a:pt x="152" y="497"/>
                  <a:pt x="145" y="477"/>
                </a:cubicBezTo>
                <a:cubicBezTo>
                  <a:pt x="141" y="465"/>
                  <a:pt x="139" y="464"/>
                  <a:pt x="129" y="465"/>
                </a:cubicBezTo>
                <a:cubicBezTo>
                  <a:pt x="82" y="469"/>
                  <a:pt x="79" y="468"/>
                  <a:pt x="67" y="460"/>
                </a:cubicBezTo>
                <a:cubicBezTo>
                  <a:pt x="41" y="440"/>
                  <a:pt x="19" y="409"/>
                  <a:pt x="19" y="390"/>
                </a:cubicBezTo>
                <a:cubicBezTo>
                  <a:pt x="19" y="384"/>
                  <a:pt x="23" y="382"/>
                  <a:pt x="38" y="380"/>
                </a:cubicBezTo>
                <a:cubicBezTo>
                  <a:pt x="48" y="379"/>
                  <a:pt x="64" y="378"/>
                  <a:pt x="73" y="378"/>
                </a:cubicBezTo>
                <a:cubicBezTo>
                  <a:pt x="87" y="378"/>
                  <a:pt x="88" y="377"/>
                  <a:pt x="83" y="372"/>
                </a:cubicBezTo>
                <a:cubicBezTo>
                  <a:pt x="74" y="364"/>
                  <a:pt x="52" y="358"/>
                  <a:pt x="33" y="358"/>
                </a:cubicBezTo>
                <a:cubicBezTo>
                  <a:pt x="21" y="358"/>
                  <a:pt x="15" y="356"/>
                  <a:pt x="13" y="351"/>
                </a:cubicBezTo>
                <a:cubicBezTo>
                  <a:pt x="6" y="333"/>
                  <a:pt x="0" y="300"/>
                  <a:pt x="1" y="283"/>
                </a:cubicBezTo>
                <a:cubicBezTo>
                  <a:pt x="6" y="200"/>
                  <a:pt x="8" y="191"/>
                  <a:pt x="25" y="141"/>
                </a:cubicBezTo>
                <a:cubicBezTo>
                  <a:pt x="50" y="68"/>
                  <a:pt x="69" y="34"/>
                  <a:pt x="91" y="21"/>
                </a:cubicBezTo>
                <a:cubicBezTo>
                  <a:pt x="127" y="0"/>
                  <a:pt x="185" y="6"/>
                  <a:pt x="192" y="31"/>
                </a:cubicBezTo>
                <a:cubicBezTo>
                  <a:pt x="194" y="41"/>
                  <a:pt x="193" y="45"/>
                  <a:pt x="181" y="58"/>
                </a:cubicBezTo>
                <a:cubicBezTo>
                  <a:pt x="173" y="67"/>
                  <a:pt x="166" y="80"/>
                  <a:pt x="165" y="88"/>
                </a:cubicBezTo>
                <a:cubicBezTo>
                  <a:pt x="163" y="97"/>
                  <a:pt x="159" y="108"/>
                  <a:pt x="156" y="113"/>
                </a:cubicBezTo>
                <a:cubicBezTo>
                  <a:pt x="149" y="124"/>
                  <a:pt x="139" y="165"/>
                  <a:pt x="142" y="171"/>
                </a:cubicBezTo>
                <a:cubicBezTo>
                  <a:pt x="143" y="173"/>
                  <a:pt x="145" y="188"/>
                  <a:pt x="145" y="204"/>
                </a:cubicBezTo>
                <a:cubicBezTo>
                  <a:pt x="147" y="237"/>
                  <a:pt x="148" y="242"/>
                  <a:pt x="159" y="242"/>
                </a:cubicBezTo>
                <a:cubicBezTo>
                  <a:pt x="164" y="242"/>
                  <a:pt x="167" y="238"/>
                  <a:pt x="169" y="231"/>
                </a:cubicBezTo>
                <a:cubicBezTo>
                  <a:pt x="171" y="225"/>
                  <a:pt x="175" y="216"/>
                  <a:pt x="178" y="212"/>
                </a:cubicBezTo>
                <a:cubicBezTo>
                  <a:pt x="184" y="206"/>
                  <a:pt x="184" y="204"/>
                  <a:pt x="180" y="198"/>
                </a:cubicBezTo>
                <a:cubicBezTo>
                  <a:pt x="170" y="184"/>
                  <a:pt x="166" y="171"/>
                  <a:pt x="165" y="152"/>
                </a:cubicBezTo>
                <a:cubicBezTo>
                  <a:pt x="165" y="137"/>
                  <a:pt x="167" y="131"/>
                  <a:pt x="173" y="126"/>
                </a:cubicBezTo>
                <a:cubicBezTo>
                  <a:pt x="178" y="123"/>
                  <a:pt x="183" y="116"/>
                  <a:pt x="184" y="113"/>
                </a:cubicBezTo>
                <a:cubicBezTo>
                  <a:pt x="186" y="109"/>
                  <a:pt x="189" y="106"/>
                  <a:pt x="191" y="106"/>
                </a:cubicBezTo>
                <a:cubicBezTo>
                  <a:pt x="193" y="106"/>
                  <a:pt x="195" y="102"/>
                  <a:pt x="195" y="97"/>
                </a:cubicBezTo>
                <a:cubicBezTo>
                  <a:pt x="195" y="83"/>
                  <a:pt x="226" y="40"/>
                  <a:pt x="242" y="31"/>
                </a:cubicBezTo>
                <a:cubicBezTo>
                  <a:pt x="260" y="21"/>
                  <a:pt x="298" y="14"/>
                  <a:pt x="310" y="18"/>
                </a:cubicBezTo>
                <a:cubicBezTo>
                  <a:pt x="317" y="21"/>
                  <a:pt x="324" y="31"/>
                  <a:pt x="348" y="76"/>
                </a:cubicBezTo>
                <a:cubicBezTo>
                  <a:pt x="364" y="104"/>
                  <a:pt x="375" y="135"/>
                  <a:pt x="373" y="143"/>
                </a:cubicBezTo>
                <a:cubicBezTo>
                  <a:pt x="370" y="155"/>
                  <a:pt x="385" y="174"/>
                  <a:pt x="396" y="174"/>
                </a:cubicBezTo>
                <a:cubicBezTo>
                  <a:pt x="401" y="174"/>
                  <a:pt x="412" y="172"/>
                  <a:pt x="420" y="169"/>
                </a:cubicBezTo>
                <a:cubicBezTo>
                  <a:pt x="433" y="166"/>
                  <a:pt x="435" y="164"/>
                  <a:pt x="433" y="157"/>
                </a:cubicBezTo>
                <a:cubicBezTo>
                  <a:pt x="429" y="144"/>
                  <a:pt x="453" y="124"/>
                  <a:pt x="481" y="118"/>
                </a:cubicBezTo>
                <a:cubicBezTo>
                  <a:pt x="504" y="113"/>
                  <a:pt x="507" y="113"/>
                  <a:pt x="519" y="121"/>
                </a:cubicBezTo>
                <a:cubicBezTo>
                  <a:pt x="527" y="126"/>
                  <a:pt x="538" y="130"/>
                  <a:pt x="543" y="130"/>
                </a:cubicBezTo>
                <a:cubicBezTo>
                  <a:pt x="556" y="130"/>
                  <a:pt x="573" y="144"/>
                  <a:pt x="577" y="158"/>
                </a:cubicBezTo>
                <a:cubicBezTo>
                  <a:pt x="581" y="171"/>
                  <a:pt x="591" y="182"/>
                  <a:pt x="599" y="182"/>
                </a:cubicBezTo>
                <a:cubicBezTo>
                  <a:pt x="604" y="182"/>
                  <a:pt x="607" y="186"/>
                  <a:pt x="609" y="198"/>
                </a:cubicBezTo>
                <a:cubicBezTo>
                  <a:pt x="611" y="206"/>
                  <a:pt x="613" y="214"/>
                  <a:pt x="615" y="214"/>
                </a:cubicBezTo>
                <a:cubicBezTo>
                  <a:pt x="617" y="214"/>
                  <a:pt x="629" y="223"/>
                  <a:pt x="641" y="236"/>
                </a:cubicBezTo>
                <a:cubicBezTo>
                  <a:pt x="659" y="254"/>
                  <a:pt x="664" y="256"/>
                  <a:pt x="666" y="251"/>
                </a:cubicBezTo>
                <a:cubicBezTo>
                  <a:pt x="667" y="247"/>
                  <a:pt x="670" y="238"/>
                  <a:pt x="673" y="230"/>
                </a:cubicBezTo>
                <a:cubicBezTo>
                  <a:pt x="680" y="216"/>
                  <a:pt x="683" y="216"/>
                  <a:pt x="718" y="228"/>
                </a:cubicBezTo>
                <a:cubicBezTo>
                  <a:pt x="733" y="233"/>
                  <a:pt x="736" y="237"/>
                  <a:pt x="744" y="254"/>
                </a:cubicBezTo>
                <a:cubicBezTo>
                  <a:pt x="749" y="266"/>
                  <a:pt x="757" y="276"/>
                  <a:pt x="763" y="280"/>
                </a:cubicBezTo>
                <a:cubicBezTo>
                  <a:pt x="769" y="284"/>
                  <a:pt x="777" y="291"/>
                  <a:pt x="779" y="295"/>
                </a:cubicBezTo>
                <a:cubicBezTo>
                  <a:pt x="787" y="311"/>
                  <a:pt x="797" y="314"/>
                  <a:pt x="809" y="305"/>
                </a:cubicBezTo>
                <a:cubicBezTo>
                  <a:pt x="822" y="295"/>
                  <a:pt x="831" y="297"/>
                  <a:pt x="855" y="314"/>
                </a:cubicBezTo>
                <a:cubicBezTo>
                  <a:pt x="870" y="325"/>
                  <a:pt x="872" y="328"/>
                  <a:pt x="869" y="337"/>
                </a:cubicBezTo>
                <a:cubicBezTo>
                  <a:pt x="862" y="365"/>
                  <a:pt x="862" y="370"/>
                  <a:pt x="868" y="369"/>
                </a:cubicBezTo>
                <a:cubicBezTo>
                  <a:pt x="871" y="368"/>
                  <a:pt x="876" y="363"/>
                  <a:pt x="880" y="357"/>
                </a:cubicBezTo>
                <a:cubicBezTo>
                  <a:pt x="890" y="341"/>
                  <a:pt x="902" y="342"/>
                  <a:pt x="922" y="363"/>
                </a:cubicBezTo>
                <a:cubicBezTo>
                  <a:pt x="940" y="382"/>
                  <a:pt x="949" y="396"/>
                  <a:pt x="949" y="408"/>
                </a:cubicBezTo>
                <a:cubicBezTo>
                  <a:pt x="950" y="430"/>
                  <a:pt x="952" y="432"/>
                  <a:pt x="965" y="439"/>
                </a:cubicBezTo>
                <a:cubicBezTo>
                  <a:pt x="973" y="442"/>
                  <a:pt x="982" y="451"/>
                  <a:pt x="985" y="457"/>
                </a:cubicBezTo>
                <a:cubicBezTo>
                  <a:pt x="991" y="469"/>
                  <a:pt x="991" y="469"/>
                  <a:pt x="991" y="469"/>
                </a:cubicBezTo>
                <a:cubicBezTo>
                  <a:pt x="973" y="480"/>
                  <a:pt x="973" y="480"/>
                  <a:pt x="973" y="480"/>
                </a:cubicBezTo>
                <a:cubicBezTo>
                  <a:pt x="958" y="489"/>
                  <a:pt x="953" y="490"/>
                  <a:pt x="945" y="486"/>
                </a:cubicBezTo>
                <a:cubicBezTo>
                  <a:pt x="933" y="481"/>
                  <a:pt x="930" y="484"/>
                  <a:pt x="938" y="496"/>
                </a:cubicBezTo>
                <a:cubicBezTo>
                  <a:pt x="944" y="505"/>
                  <a:pt x="944" y="522"/>
                  <a:pt x="937" y="538"/>
                </a:cubicBezTo>
                <a:cubicBezTo>
                  <a:pt x="934" y="547"/>
                  <a:pt x="947" y="559"/>
                  <a:pt x="967" y="565"/>
                </a:cubicBezTo>
                <a:cubicBezTo>
                  <a:pt x="975" y="567"/>
                  <a:pt x="989" y="574"/>
                  <a:pt x="998" y="580"/>
                </a:cubicBezTo>
                <a:cubicBezTo>
                  <a:pt x="1006" y="586"/>
                  <a:pt x="1019" y="591"/>
                  <a:pt x="1027" y="591"/>
                </a:cubicBezTo>
                <a:cubicBezTo>
                  <a:pt x="1035" y="592"/>
                  <a:pt x="1046" y="594"/>
                  <a:pt x="1051" y="596"/>
                </a:cubicBezTo>
                <a:cubicBezTo>
                  <a:pt x="1057" y="598"/>
                  <a:pt x="1072" y="600"/>
                  <a:pt x="1084" y="599"/>
                </a:cubicBezTo>
                <a:cubicBezTo>
                  <a:pt x="1108" y="597"/>
                  <a:pt x="1108" y="597"/>
                  <a:pt x="1108" y="597"/>
                </a:cubicBezTo>
                <a:cubicBezTo>
                  <a:pt x="1129" y="619"/>
                  <a:pt x="1129" y="619"/>
                  <a:pt x="1129" y="619"/>
                </a:cubicBezTo>
                <a:cubicBezTo>
                  <a:pt x="1148" y="639"/>
                  <a:pt x="1152" y="642"/>
                  <a:pt x="1167" y="642"/>
                </a:cubicBezTo>
                <a:cubicBezTo>
                  <a:pt x="1176" y="642"/>
                  <a:pt x="1185" y="643"/>
                  <a:pt x="1188" y="643"/>
                </a:cubicBezTo>
                <a:cubicBezTo>
                  <a:pt x="1191" y="643"/>
                  <a:pt x="1194" y="649"/>
                  <a:pt x="1196" y="657"/>
                </a:cubicBezTo>
                <a:cubicBezTo>
                  <a:pt x="1197" y="664"/>
                  <a:pt x="1199" y="671"/>
                  <a:pt x="1201" y="673"/>
                </a:cubicBezTo>
                <a:cubicBezTo>
                  <a:pt x="1202" y="674"/>
                  <a:pt x="1216" y="671"/>
                  <a:pt x="1231" y="666"/>
                </a:cubicBezTo>
                <a:cubicBezTo>
                  <a:pt x="1259" y="656"/>
                  <a:pt x="1259" y="656"/>
                  <a:pt x="1259" y="656"/>
                </a:cubicBezTo>
                <a:cubicBezTo>
                  <a:pt x="1274" y="664"/>
                  <a:pt x="1274" y="664"/>
                  <a:pt x="1274" y="664"/>
                </a:cubicBezTo>
                <a:cubicBezTo>
                  <a:pt x="1288" y="673"/>
                  <a:pt x="1289" y="674"/>
                  <a:pt x="1290" y="694"/>
                </a:cubicBezTo>
                <a:cubicBezTo>
                  <a:pt x="1292" y="720"/>
                  <a:pt x="1290" y="729"/>
                  <a:pt x="1279" y="741"/>
                </a:cubicBezTo>
                <a:cubicBezTo>
                  <a:pt x="1272" y="750"/>
                  <a:pt x="1271" y="751"/>
                  <a:pt x="1278" y="758"/>
                </a:cubicBezTo>
                <a:cubicBezTo>
                  <a:pt x="1283" y="764"/>
                  <a:pt x="1284" y="767"/>
                  <a:pt x="1280" y="775"/>
                </a:cubicBezTo>
                <a:cubicBezTo>
                  <a:pt x="1278" y="781"/>
                  <a:pt x="1277" y="791"/>
                  <a:pt x="1278" y="799"/>
                </a:cubicBezTo>
                <a:cubicBezTo>
                  <a:pt x="1281" y="817"/>
                  <a:pt x="1267" y="838"/>
                  <a:pt x="1253" y="838"/>
                </a:cubicBezTo>
                <a:cubicBezTo>
                  <a:pt x="1244" y="838"/>
                  <a:pt x="1243" y="839"/>
                  <a:pt x="1245" y="847"/>
                </a:cubicBezTo>
                <a:cubicBezTo>
                  <a:pt x="1250" y="860"/>
                  <a:pt x="1263" y="885"/>
                  <a:pt x="1267" y="888"/>
                </a:cubicBezTo>
                <a:cubicBezTo>
                  <a:pt x="1275" y="893"/>
                  <a:pt x="1271" y="901"/>
                  <a:pt x="1255" y="909"/>
                </a:cubicBezTo>
                <a:cubicBezTo>
                  <a:pt x="1238" y="917"/>
                  <a:pt x="1238" y="917"/>
                  <a:pt x="1224" y="910"/>
                </a:cubicBezTo>
                <a:cubicBezTo>
                  <a:pt x="1216" y="905"/>
                  <a:pt x="1201" y="900"/>
                  <a:pt x="1191" y="897"/>
                </a:cubicBezTo>
                <a:cubicBezTo>
                  <a:pt x="1174" y="893"/>
                  <a:pt x="1169" y="889"/>
                  <a:pt x="1157" y="871"/>
                </a:cubicBezTo>
                <a:cubicBezTo>
                  <a:pt x="1142" y="848"/>
                  <a:pt x="1114" y="822"/>
                  <a:pt x="1105" y="822"/>
                </a:cubicBezTo>
                <a:cubicBezTo>
                  <a:pt x="1102" y="822"/>
                  <a:pt x="1097" y="819"/>
                  <a:pt x="1094" y="816"/>
                </a:cubicBezTo>
                <a:cubicBezTo>
                  <a:pt x="1078" y="801"/>
                  <a:pt x="1051" y="791"/>
                  <a:pt x="1051" y="801"/>
                </a:cubicBezTo>
                <a:cubicBezTo>
                  <a:pt x="1051" y="803"/>
                  <a:pt x="1046" y="806"/>
                  <a:pt x="1041" y="809"/>
                </a:cubicBezTo>
                <a:cubicBezTo>
                  <a:pt x="1030" y="814"/>
                  <a:pt x="1030" y="814"/>
                  <a:pt x="1030" y="814"/>
                </a:cubicBezTo>
                <a:cubicBezTo>
                  <a:pt x="1041" y="825"/>
                  <a:pt x="1041" y="825"/>
                  <a:pt x="1041" y="825"/>
                </a:cubicBezTo>
                <a:cubicBezTo>
                  <a:pt x="1054" y="839"/>
                  <a:pt x="1054" y="857"/>
                  <a:pt x="1041" y="864"/>
                </a:cubicBezTo>
                <a:cubicBezTo>
                  <a:pt x="1034" y="867"/>
                  <a:pt x="1033" y="870"/>
                  <a:pt x="1035" y="876"/>
                </a:cubicBezTo>
                <a:cubicBezTo>
                  <a:pt x="1037" y="880"/>
                  <a:pt x="1039" y="882"/>
                  <a:pt x="1039" y="881"/>
                </a:cubicBezTo>
                <a:cubicBezTo>
                  <a:pt x="1039" y="876"/>
                  <a:pt x="1068" y="889"/>
                  <a:pt x="1074" y="897"/>
                </a:cubicBezTo>
                <a:cubicBezTo>
                  <a:pt x="1076" y="901"/>
                  <a:pt x="1086" y="912"/>
                  <a:pt x="1095" y="922"/>
                </a:cubicBezTo>
                <a:cubicBezTo>
                  <a:pt x="1110" y="940"/>
                  <a:pt x="1116" y="942"/>
                  <a:pt x="1158" y="953"/>
                </a:cubicBezTo>
                <a:cubicBezTo>
                  <a:pt x="1170" y="957"/>
                  <a:pt x="1175" y="960"/>
                  <a:pt x="1177" y="967"/>
                </a:cubicBezTo>
                <a:cubicBezTo>
                  <a:pt x="1178" y="973"/>
                  <a:pt x="1183" y="979"/>
                  <a:pt x="1187" y="982"/>
                </a:cubicBezTo>
                <a:cubicBezTo>
                  <a:pt x="1192" y="984"/>
                  <a:pt x="1200" y="993"/>
                  <a:pt x="1205" y="1001"/>
                </a:cubicBezTo>
                <a:cubicBezTo>
                  <a:pt x="1210" y="1010"/>
                  <a:pt x="1228" y="1030"/>
                  <a:pt x="1243" y="1046"/>
                </a:cubicBezTo>
                <a:cubicBezTo>
                  <a:pt x="1271" y="1075"/>
                  <a:pt x="1271" y="1075"/>
                  <a:pt x="1271" y="1075"/>
                </a:cubicBezTo>
                <a:cubicBezTo>
                  <a:pt x="1271" y="1130"/>
                  <a:pt x="1271" y="1130"/>
                  <a:pt x="1271" y="1130"/>
                </a:cubicBezTo>
                <a:cubicBezTo>
                  <a:pt x="1270" y="1161"/>
                  <a:pt x="1268" y="1187"/>
                  <a:pt x="1267" y="1188"/>
                </a:cubicBezTo>
                <a:cubicBezTo>
                  <a:pt x="1262" y="1190"/>
                  <a:pt x="1190" y="1167"/>
                  <a:pt x="1151" y="1151"/>
                </a:cubicBezTo>
                <a:cubicBezTo>
                  <a:pt x="1133" y="1143"/>
                  <a:pt x="1112" y="1131"/>
                  <a:pt x="1105" y="1126"/>
                </a:cubicBezTo>
                <a:cubicBezTo>
                  <a:pt x="1093" y="1116"/>
                  <a:pt x="1082" y="1114"/>
                  <a:pt x="1058" y="1117"/>
                </a:cubicBezTo>
                <a:cubicBezTo>
                  <a:pt x="1051" y="1118"/>
                  <a:pt x="1056" y="1125"/>
                  <a:pt x="1066" y="1129"/>
                </a:cubicBezTo>
                <a:cubicBezTo>
                  <a:pt x="1072" y="1132"/>
                  <a:pt x="1081" y="1140"/>
                  <a:pt x="1085" y="1147"/>
                </a:cubicBezTo>
                <a:cubicBezTo>
                  <a:pt x="1091" y="1158"/>
                  <a:pt x="1097" y="1163"/>
                  <a:pt x="1123" y="1172"/>
                </a:cubicBezTo>
                <a:cubicBezTo>
                  <a:pt x="1139" y="1179"/>
                  <a:pt x="1172" y="1197"/>
                  <a:pt x="1196" y="1212"/>
                </a:cubicBezTo>
                <a:cubicBezTo>
                  <a:pt x="1239" y="1240"/>
                  <a:pt x="1239" y="1240"/>
                  <a:pt x="1239" y="1240"/>
                </a:cubicBezTo>
                <a:cubicBezTo>
                  <a:pt x="1238" y="1264"/>
                  <a:pt x="1238" y="1264"/>
                  <a:pt x="1238" y="1264"/>
                </a:cubicBezTo>
                <a:cubicBezTo>
                  <a:pt x="1237" y="1288"/>
                  <a:pt x="1237" y="1288"/>
                  <a:pt x="1237" y="1288"/>
                </a:cubicBezTo>
                <a:cubicBezTo>
                  <a:pt x="1214" y="1288"/>
                  <a:pt x="1214" y="1288"/>
                  <a:pt x="1214" y="1288"/>
                </a:cubicBezTo>
                <a:cubicBezTo>
                  <a:pt x="1202" y="1288"/>
                  <a:pt x="1191" y="1288"/>
                  <a:pt x="1190" y="1287"/>
                </a:cubicBezTo>
                <a:close/>
              </a:path>
            </a:pathLst>
          </a:custGeom>
          <a:solidFill>
            <a:srgbClr val="D3D3D3"/>
          </a:solidFill>
          <a:ln w="22225" cap="flat">
            <a:solidFill>
              <a:srgbClr val="D3D3D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97" name="Freeform 35"/>
          <p:cNvSpPr>
            <a:spLocks/>
          </p:cNvSpPr>
          <p:nvPr userDrawn="1"/>
        </p:nvSpPr>
        <p:spPr bwMode="grayWhite">
          <a:xfrm>
            <a:off x="4809495" y="-952612"/>
            <a:ext cx="74613" cy="69851"/>
          </a:xfrm>
          <a:custGeom>
            <a:avLst/>
            <a:gdLst>
              <a:gd name="T0" fmla="*/ 20 w 51"/>
              <a:gd name="T1" fmla="*/ 37 h 48"/>
              <a:gd name="T2" fmla="*/ 7 w 51"/>
              <a:gd name="T3" fmla="*/ 8 h 48"/>
              <a:gd name="T4" fmla="*/ 36 w 51"/>
              <a:gd name="T5" fmla="*/ 11 h 48"/>
              <a:gd name="T6" fmla="*/ 42 w 51"/>
              <a:gd name="T7" fmla="*/ 42 h 48"/>
              <a:gd name="T8" fmla="*/ 20 w 51"/>
              <a:gd name="T9" fmla="*/ 37 h 48"/>
            </a:gdLst>
            <a:ahLst/>
            <a:cxnLst>
              <a:cxn ang="0">
                <a:pos x="T0" y="T1"/>
              </a:cxn>
              <a:cxn ang="0">
                <a:pos x="T2" y="T3"/>
              </a:cxn>
              <a:cxn ang="0">
                <a:pos x="T4" y="T5"/>
              </a:cxn>
              <a:cxn ang="0">
                <a:pos x="T6" y="T7"/>
              </a:cxn>
              <a:cxn ang="0">
                <a:pos x="T8" y="T9"/>
              </a:cxn>
            </a:cxnLst>
            <a:rect l="0" t="0" r="r" b="b"/>
            <a:pathLst>
              <a:path w="51" h="48">
                <a:moveTo>
                  <a:pt x="20" y="37"/>
                </a:moveTo>
                <a:cubicBezTo>
                  <a:pt x="5" y="27"/>
                  <a:pt x="0" y="17"/>
                  <a:pt x="7" y="8"/>
                </a:cubicBezTo>
                <a:cubicBezTo>
                  <a:pt x="14" y="0"/>
                  <a:pt x="22" y="1"/>
                  <a:pt x="36" y="11"/>
                </a:cubicBezTo>
                <a:cubicBezTo>
                  <a:pt x="48" y="20"/>
                  <a:pt x="51" y="33"/>
                  <a:pt x="42" y="42"/>
                </a:cubicBezTo>
                <a:cubicBezTo>
                  <a:pt x="36" y="48"/>
                  <a:pt x="36" y="48"/>
                  <a:pt x="20" y="37"/>
                </a:cubicBezTo>
                <a:close/>
              </a:path>
            </a:pathLst>
          </a:custGeom>
          <a:solidFill>
            <a:srgbClr val="D3D3D3"/>
          </a:solidFill>
          <a:ln w="22225" cap="flat">
            <a:solidFill>
              <a:srgbClr val="D3D3D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98" name="Freeform 36"/>
          <p:cNvSpPr>
            <a:spLocks/>
          </p:cNvSpPr>
          <p:nvPr userDrawn="1"/>
        </p:nvSpPr>
        <p:spPr bwMode="grayWhite">
          <a:xfrm>
            <a:off x="4888870" y="-1000236"/>
            <a:ext cx="60325" cy="41275"/>
          </a:xfrm>
          <a:custGeom>
            <a:avLst/>
            <a:gdLst>
              <a:gd name="T0" fmla="*/ 9 w 42"/>
              <a:gd name="T1" fmla="*/ 26 h 29"/>
              <a:gd name="T2" fmla="*/ 1 w 42"/>
              <a:gd name="T3" fmla="*/ 13 h 29"/>
              <a:gd name="T4" fmla="*/ 12 w 42"/>
              <a:gd name="T5" fmla="*/ 1 h 29"/>
              <a:gd name="T6" fmla="*/ 38 w 42"/>
              <a:gd name="T7" fmla="*/ 22 h 29"/>
              <a:gd name="T8" fmla="*/ 9 w 42"/>
              <a:gd name="T9" fmla="*/ 26 h 29"/>
            </a:gdLst>
            <a:ahLst/>
            <a:cxnLst>
              <a:cxn ang="0">
                <a:pos x="T0" y="T1"/>
              </a:cxn>
              <a:cxn ang="0">
                <a:pos x="T2" y="T3"/>
              </a:cxn>
              <a:cxn ang="0">
                <a:pos x="T4" y="T5"/>
              </a:cxn>
              <a:cxn ang="0">
                <a:pos x="T6" y="T7"/>
              </a:cxn>
              <a:cxn ang="0">
                <a:pos x="T8" y="T9"/>
              </a:cxn>
            </a:cxnLst>
            <a:rect l="0" t="0" r="r" b="b"/>
            <a:pathLst>
              <a:path w="42" h="29">
                <a:moveTo>
                  <a:pt x="9" y="26"/>
                </a:moveTo>
                <a:cubicBezTo>
                  <a:pt x="2" y="24"/>
                  <a:pt x="0" y="22"/>
                  <a:pt x="1" y="13"/>
                </a:cubicBezTo>
                <a:cubicBezTo>
                  <a:pt x="2" y="5"/>
                  <a:pt x="5" y="2"/>
                  <a:pt x="12" y="1"/>
                </a:cubicBezTo>
                <a:cubicBezTo>
                  <a:pt x="26" y="0"/>
                  <a:pt x="42" y="12"/>
                  <a:pt x="38" y="22"/>
                </a:cubicBezTo>
                <a:cubicBezTo>
                  <a:pt x="35" y="28"/>
                  <a:pt x="28" y="29"/>
                  <a:pt x="9" y="26"/>
                </a:cubicBezTo>
                <a:close/>
              </a:path>
            </a:pathLst>
          </a:custGeom>
          <a:solidFill>
            <a:srgbClr val="D3D3D3"/>
          </a:solidFill>
          <a:ln w="22225" cap="flat">
            <a:solidFill>
              <a:srgbClr val="D3D3D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99" name="Freeform 37"/>
          <p:cNvSpPr>
            <a:spLocks/>
          </p:cNvSpPr>
          <p:nvPr userDrawn="1"/>
        </p:nvSpPr>
        <p:spPr bwMode="grayWhite">
          <a:xfrm>
            <a:off x="4769807" y="-1803510"/>
            <a:ext cx="147639" cy="220663"/>
          </a:xfrm>
          <a:custGeom>
            <a:avLst/>
            <a:gdLst>
              <a:gd name="T0" fmla="*/ 27 w 103"/>
              <a:gd name="T1" fmla="*/ 140 h 154"/>
              <a:gd name="T2" fmla="*/ 41 w 103"/>
              <a:gd name="T3" fmla="*/ 9 h 154"/>
              <a:gd name="T4" fmla="*/ 92 w 103"/>
              <a:gd name="T5" fmla="*/ 21 h 154"/>
              <a:gd name="T6" fmla="*/ 103 w 103"/>
              <a:gd name="T7" fmla="*/ 78 h 154"/>
              <a:gd name="T8" fmla="*/ 71 w 103"/>
              <a:gd name="T9" fmla="*/ 145 h 154"/>
              <a:gd name="T10" fmla="*/ 27 w 103"/>
              <a:gd name="T11" fmla="*/ 140 h 154"/>
            </a:gdLst>
            <a:ahLst/>
            <a:cxnLst>
              <a:cxn ang="0">
                <a:pos x="T0" y="T1"/>
              </a:cxn>
              <a:cxn ang="0">
                <a:pos x="T2" y="T3"/>
              </a:cxn>
              <a:cxn ang="0">
                <a:pos x="T4" y="T5"/>
              </a:cxn>
              <a:cxn ang="0">
                <a:pos x="T6" y="T7"/>
              </a:cxn>
              <a:cxn ang="0">
                <a:pos x="T8" y="T9"/>
              </a:cxn>
              <a:cxn ang="0">
                <a:pos x="T10" y="T11"/>
              </a:cxn>
            </a:cxnLst>
            <a:rect l="0" t="0" r="r" b="b"/>
            <a:pathLst>
              <a:path w="103" h="154">
                <a:moveTo>
                  <a:pt x="27" y="140"/>
                </a:moveTo>
                <a:cubicBezTo>
                  <a:pt x="0" y="113"/>
                  <a:pt x="9" y="30"/>
                  <a:pt x="41" y="9"/>
                </a:cubicBezTo>
                <a:cubicBezTo>
                  <a:pt x="55" y="0"/>
                  <a:pt x="77" y="5"/>
                  <a:pt x="92" y="21"/>
                </a:cubicBezTo>
                <a:cubicBezTo>
                  <a:pt x="103" y="33"/>
                  <a:pt x="103" y="34"/>
                  <a:pt x="103" y="78"/>
                </a:cubicBezTo>
                <a:cubicBezTo>
                  <a:pt x="103" y="127"/>
                  <a:pt x="101" y="131"/>
                  <a:pt x="71" y="145"/>
                </a:cubicBezTo>
                <a:cubicBezTo>
                  <a:pt x="50" y="154"/>
                  <a:pt x="40" y="153"/>
                  <a:pt x="27" y="140"/>
                </a:cubicBezTo>
                <a:close/>
              </a:path>
            </a:pathLst>
          </a:custGeom>
          <a:solidFill>
            <a:srgbClr val="D3D3D3"/>
          </a:solidFill>
          <a:ln w="22225" cap="flat">
            <a:solidFill>
              <a:srgbClr val="D3D3D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500" name="Freeform 38"/>
          <p:cNvSpPr>
            <a:spLocks/>
          </p:cNvSpPr>
          <p:nvPr userDrawn="1"/>
        </p:nvSpPr>
        <p:spPr bwMode="grayWhite">
          <a:xfrm>
            <a:off x="4934909" y="-1757473"/>
            <a:ext cx="79375" cy="52388"/>
          </a:xfrm>
          <a:custGeom>
            <a:avLst/>
            <a:gdLst>
              <a:gd name="T0" fmla="*/ 22 w 55"/>
              <a:gd name="T1" fmla="*/ 35 h 37"/>
              <a:gd name="T2" fmla="*/ 4 w 55"/>
              <a:gd name="T3" fmla="*/ 7 h 37"/>
              <a:gd name="T4" fmla="*/ 47 w 55"/>
              <a:gd name="T5" fmla="*/ 10 h 37"/>
              <a:gd name="T6" fmla="*/ 41 w 55"/>
              <a:gd name="T7" fmla="*/ 33 h 37"/>
              <a:gd name="T8" fmla="*/ 22 w 55"/>
              <a:gd name="T9" fmla="*/ 35 h 37"/>
            </a:gdLst>
            <a:ahLst/>
            <a:cxnLst>
              <a:cxn ang="0">
                <a:pos x="T0" y="T1"/>
              </a:cxn>
              <a:cxn ang="0">
                <a:pos x="T2" y="T3"/>
              </a:cxn>
              <a:cxn ang="0">
                <a:pos x="T4" y="T5"/>
              </a:cxn>
              <a:cxn ang="0">
                <a:pos x="T6" y="T7"/>
              </a:cxn>
              <a:cxn ang="0">
                <a:pos x="T8" y="T9"/>
              </a:cxn>
            </a:cxnLst>
            <a:rect l="0" t="0" r="r" b="b"/>
            <a:pathLst>
              <a:path w="55" h="37">
                <a:moveTo>
                  <a:pt x="22" y="35"/>
                </a:moveTo>
                <a:cubicBezTo>
                  <a:pt x="10" y="29"/>
                  <a:pt x="0" y="14"/>
                  <a:pt x="4" y="7"/>
                </a:cubicBezTo>
                <a:cubicBezTo>
                  <a:pt x="9" y="0"/>
                  <a:pt x="41" y="2"/>
                  <a:pt x="47" y="10"/>
                </a:cubicBezTo>
                <a:cubicBezTo>
                  <a:pt x="55" y="21"/>
                  <a:pt x="53" y="27"/>
                  <a:pt x="41" y="33"/>
                </a:cubicBezTo>
                <a:cubicBezTo>
                  <a:pt x="34" y="37"/>
                  <a:pt x="28" y="37"/>
                  <a:pt x="22" y="35"/>
                </a:cubicBezTo>
                <a:close/>
              </a:path>
            </a:pathLst>
          </a:custGeom>
          <a:solidFill>
            <a:srgbClr val="D3D3D3"/>
          </a:solidFill>
          <a:ln w="22225" cap="flat">
            <a:solidFill>
              <a:srgbClr val="D3D3D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501" name="Freeform 39"/>
          <p:cNvSpPr>
            <a:spLocks/>
          </p:cNvSpPr>
          <p:nvPr userDrawn="1"/>
        </p:nvSpPr>
        <p:spPr bwMode="grayWhite">
          <a:xfrm>
            <a:off x="4617407" y="-1987660"/>
            <a:ext cx="69851" cy="142875"/>
          </a:xfrm>
          <a:custGeom>
            <a:avLst/>
            <a:gdLst>
              <a:gd name="T0" fmla="*/ 4 w 49"/>
              <a:gd name="T1" fmla="*/ 89 h 99"/>
              <a:gd name="T2" fmla="*/ 11 w 49"/>
              <a:gd name="T3" fmla="*/ 71 h 99"/>
              <a:gd name="T4" fmla="*/ 23 w 49"/>
              <a:gd name="T5" fmla="*/ 39 h 99"/>
              <a:gd name="T6" fmla="*/ 41 w 49"/>
              <a:gd name="T7" fmla="*/ 0 h 99"/>
              <a:gd name="T8" fmla="*/ 44 w 49"/>
              <a:gd name="T9" fmla="*/ 21 h 99"/>
              <a:gd name="T10" fmla="*/ 41 w 49"/>
              <a:gd name="T11" fmla="*/ 43 h 99"/>
              <a:gd name="T12" fmla="*/ 4 w 49"/>
              <a:gd name="T13" fmla="*/ 89 h 99"/>
            </a:gdLst>
            <a:ahLst/>
            <a:cxnLst>
              <a:cxn ang="0">
                <a:pos x="T0" y="T1"/>
              </a:cxn>
              <a:cxn ang="0">
                <a:pos x="T2" y="T3"/>
              </a:cxn>
              <a:cxn ang="0">
                <a:pos x="T4" y="T5"/>
              </a:cxn>
              <a:cxn ang="0">
                <a:pos x="T6" y="T7"/>
              </a:cxn>
              <a:cxn ang="0">
                <a:pos x="T8" y="T9"/>
              </a:cxn>
              <a:cxn ang="0">
                <a:pos x="T10" y="T11"/>
              </a:cxn>
              <a:cxn ang="0">
                <a:pos x="T12" y="T13"/>
              </a:cxn>
            </a:cxnLst>
            <a:rect l="0" t="0" r="r" b="b"/>
            <a:pathLst>
              <a:path w="49" h="99">
                <a:moveTo>
                  <a:pt x="4" y="89"/>
                </a:moveTo>
                <a:cubicBezTo>
                  <a:pt x="0" y="85"/>
                  <a:pt x="0" y="82"/>
                  <a:pt x="11" y="71"/>
                </a:cubicBezTo>
                <a:cubicBezTo>
                  <a:pt x="17" y="64"/>
                  <a:pt x="21" y="52"/>
                  <a:pt x="23" y="39"/>
                </a:cubicBezTo>
                <a:cubicBezTo>
                  <a:pt x="25" y="19"/>
                  <a:pt x="35" y="0"/>
                  <a:pt x="41" y="0"/>
                </a:cubicBezTo>
                <a:cubicBezTo>
                  <a:pt x="47" y="0"/>
                  <a:pt x="49" y="12"/>
                  <a:pt x="44" y="21"/>
                </a:cubicBezTo>
                <a:cubicBezTo>
                  <a:pt x="42" y="26"/>
                  <a:pt x="40" y="35"/>
                  <a:pt x="41" y="43"/>
                </a:cubicBezTo>
                <a:cubicBezTo>
                  <a:pt x="42" y="64"/>
                  <a:pt x="14" y="99"/>
                  <a:pt x="4" y="89"/>
                </a:cubicBezTo>
                <a:close/>
              </a:path>
            </a:pathLst>
          </a:custGeom>
          <a:solidFill>
            <a:srgbClr val="D3D3D3"/>
          </a:solidFill>
          <a:ln w="22225" cap="flat">
            <a:solidFill>
              <a:srgbClr val="D3D3D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502" name="Freeform 40"/>
          <p:cNvSpPr>
            <a:spLocks/>
          </p:cNvSpPr>
          <p:nvPr userDrawn="1"/>
        </p:nvSpPr>
        <p:spPr bwMode="grayWhite">
          <a:xfrm>
            <a:off x="3298194" y="-2738550"/>
            <a:ext cx="325439" cy="490539"/>
          </a:xfrm>
          <a:custGeom>
            <a:avLst/>
            <a:gdLst>
              <a:gd name="T0" fmla="*/ 103 w 226"/>
              <a:gd name="T1" fmla="*/ 326 h 342"/>
              <a:gd name="T2" fmla="*/ 84 w 226"/>
              <a:gd name="T3" fmla="*/ 304 h 342"/>
              <a:gd name="T4" fmla="*/ 38 w 226"/>
              <a:gd name="T5" fmla="*/ 225 h 342"/>
              <a:gd name="T6" fmla="*/ 12 w 226"/>
              <a:gd name="T7" fmla="*/ 192 h 342"/>
              <a:gd name="T8" fmla="*/ 5 w 226"/>
              <a:gd name="T9" fmla="*/ 151 h 342"/>
              <a:gd name="T10" fmla="*/ 21 w 226"/>
              <a:gd name="T11" fmla="*/ 125 h 342"/>
              <a:gd name="T12" fmla="*/ 52 w 226"/>
              <a:gd name="T13" fmla="*/ 134 h 342"/>
              <a:gd name="T14" fmla="*/ 80 w 226"/>
              <a:gd name="T15" fmla="*/ 143 h 342"/>
              <a:gd name="T16" fmla="*/ 91 w 226"/>
              <a:gd name="T17" fmla="*/ 121 h 342"/>
              <a:gd name="T18" fmla="*/ 87 w 226"/>
              <a:gd name="T19" fmla="*/ 97 h 342"/>
              <a:gd name="T20" fmla="*/ 67 w 226"/>
              <a:gd name="T21" fmla="*/ 43 h 342"/>
              <a:gd name="T22" fmla="*/ 93 w 226"/>
              <a:gd name="T23" fmla="*/ 3 h 342"/>
              <a:gd name="T24" fmla="*/ 120 w 226"/>
              <a:gd name="T25" fmla="*/ 15 h 342"/>
              <a:gd name="T26" fmla="*/ 146 w 226"/>
              <a:gd name="T27" fmla="*/ 21 h 342"/>
              <a:gd name="T28" fmla="*/ 209 w 226"/>
              <a:gd name="T29" fmla="*/ 7 h 342"/>
              <a:gd name="T30" fmla="*/ 214 w 226"/>
              <a:gd name="T31" fmla="*/ 33 h 342"/>
              <a:gd name="T32" fmla="*/ 207 w 226"/>
              <a:gd name="T33" fmla="*/ 56 h 342"/>
              <a:gd name="T34" fmla="*/ 207 w 226"/>
              <a:gd name="T35" fmla="*/ 64 h 342"/>
              <a:gd name="T36" fmla="*/ 196 w 226"/>
              <a:gd name="T37" fmla="*/ 99 h 342"/>
              <a:gd name="T38" fmla="*/ 178 w 226"/>
              <a:gd name="T39" fmla="*/ 123 h 342"/>
              <a:gd name="T40" fmla="*/ 190 w 226"/>
              <a:gd name="T41" fmla="*/ 131 h 342"/>
              <a:gd name="T42" fmla="*/ 202 w 226"/>
              <a:gd name="T43" fmla="*/ 146 h 342"/>
              <a:gd name="T44" fmla="*/ 208 w 226"/>
              <a:gd name="T45" fmla="*/ 167 h 342"/>
              <a:gd name="T46" fmla="*/ 225 w 226"/>
              <a:gd name="T47" fmla="*/ 225 h 342"/>
              <a:gd name="T48" fmla="*/ 217 w 226"/>
              <a:gd name="T49" fmla="*/ 270 h 342"/>
              <a:gd name="T50" fmla="*/ 172 w 226"/>
              <a:gd name="T51" fmla="*/ 303 h 342"/>
              <a:gd name="T52" fmla="*/ 168 w 226"/>
              <a:gd name="T53" fmla="*/ 306 h 342"/>
              <a:gd name="T54" fmla="*/ 136 w 226"/>
              <a:gd name="T55" fmla="*/ 337 h 342"/>
              <a:gd name="T56" fmla="*/ 103 w 226"/>
              <a:gd name="T57" fmla="*/ 326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6" h="342">
                <a:moveTo>
                  <a:pt x="103" y="326"/>
                </a:moveTo>
                <a:cubicBezTo>
                  <a:pt x="93" y="318"/>
                  <a:pt x="84" y="308"/>
                  <a:pt x="84" y="304"/>
                </a:cubicBezTo>
                <a:cubicBezTo>
                  <a:pt x="80" y="261"/>
                  <a:pt x="74" y="250"/>
                  <a:pt x="38" y="225"/>
                </a:cubicBezTo>
                <a:cubicBezTo>
                  <a:pt x="31" y="220"/>
                  <a:pt x="19" y="205"/>
                  <a:pt x="12" y="192"/>
                </a:cubicBezTo>
                <a:cubicBezTo>
                  <a:pt x="0" y="169"/>
                  <a:pt x="0" y="168"/>
                  <a:pt x="5" y="151"/>
                </a:cubicBezTo>
                <a:cubicBezTo>
                  <a:pt x="8" y="141"/>
                  <a:pt x="15" y="129"/>
                  <a:pt x="21" y="125"/>
                </a:cubicBezTo>
                <a:cubicBezTo>
                  <a:pt x="30" y="118"/>
                  <a:pt x="31" y="118"/>
                  <a:pt x="52" y="134"/>
                </a:cubicBezTo>
                <a:cubicBezTo>
                  <a:pt x="72" y="150"/>
                  <a:pt x="74" y="150"/>
                  <a:pt x="80" y="143"/>
                </a:cubicBezTo>
                <a:cubicBezTo>
                  <a:pt x="84" y="139"/>
                  <a:pt x="88" y="129"/>
                  <a:pt x="91" y="121"/>
                </a:cubicBezTo>
                <a:cubicBezTo>
                  <a:pt x="94" y="108"/>
                  <a:pt x="94" y="104"/>
                  <a:pt x="87" y="97"/>
                </a:cubicBezTo>
                <a:cubicBezTo>
                  <a:pt x="68" y="76"/>
                  <a:pt x="63" y="63"/>
                  <a:pt x="67" y="43"/>
                </a:cubicBezTo>
                <a:cubicBezTo>
                  <a:pt x="72" y="22"/>
                  <a:pt x="84" y="3"/>
                  <a:pt x="93" y="3"/>
                </a:cubicBezTo>
                <a:cubicBezTo>
                  <a:pt x="96" y="3"/>
                  <a:pt x="109" y="8"/>
                  <a:pt x="120" y="15"/>
                </a:cubicBezTo>
                <a:cubicBezTo>
                  <a:pt x="138" y="25"/>
                  <a:pt x="142" y="26"/>
                  <a:pt x="146" y="21"/>
                </a:cubicBezTo>
                <a:cubicBezTo>
                  <a:pt x="156" y="9"/>
                  <a:pt x="200" y="0"/>
                  <a:pt x="209" y="7"/>
                </a:cubicBezTo>
                <a:cubicBezTo>
                  <a:pt x="212" y="10"/>
                  <a:pt x="214" y="21"/>
                  <a:pt x="214" y="33"/>
                </a:cubicBezTo>
                <a:cubicBezTo>
                  <a:pt x="214" y="49"/>
                  <a:pt x="213" y="54"/>
                  <a:pt x="207" y="56"/>
                </a:cubicBezTo>
                <a:cubicBezTo>
                  <a:pt x="200" y="59"/>
                  <a:pt x="200" y="59"/>
                  <a:pt x="207" y="64"/>
                </a:cubicBezTo>
                <a:cubicBezTo>
                  <a:pt x="217" y="72"/>
                  <a:pt x="216" y="76"/>
                  <a:pt x="196" y="99"/>
                </a:cubicBezTo>
                <a:cubicBezTo>
                  <a:pt x="186" y="110"/>
                  <a:pt x="178" y="121"/>
                  <a:pt x="178" y="123"/>
                </a:cubicBezTo>
                <a:cubicBezTo>
                  <a:pt x="178" y="125"/>
                  <a:pt x="184" y="129"/>
                  <a:pt x="190" y="131"/>
                </a:cubicBezTo>
                <a:cubicBezTo>
                  <a:pt x="199" y="134"/>
                  <a:pt x="202" y="138"/>
                  <a:pt x="202" y="146"/>
                </a:cubicBezTo>
                <a:cubicBezTo>
                  <a:pt x="202" y="152"/>
                  <a:pt x="205" y="161"/>
                  <a:pt x="208" y="167"/>
                </a:cubicBezTo>
                <a:cubicBezTo>
                  <a:pt x="220" y="187"/>
                  <a:pt x="223" y="197"/>
                  <a:pt x="225" y="225"/>
                </a:cubicBezTo>
                <a:cubicBezTo>
                  <a:pt x="226" y="251"/>
                  <a:pt x="226" y="256"/>
                  <a:pt x="217" y="270"/>
                </a:cubicBezTo>
                <a:cubicBezTo>
                  <a:pt x="206" y="286"/>
                  <a:pt x="184" y="303"/>
                  <a:pt x="172" y="303"/>
                </a:cubicBezTo>
                <a:cubicBezTo>
                  <a:pt x="169" y="303"/>
                  <a:pt x="167" y="304"/>
                  <a:pt x="168" y="306"/>
                </a:cubicBezTo>
                <a:cubicBezTo>
                  <a:pt x="172" y="313"/>
                  <a:pt x="151" y="333"/>
                  <a:pt x="136" y="337"/>
                </a:cubicBezTo>
                <a:cubicBezTo>
                  <a:pt x="123" y="342"/>
                  <a:pt x="121" y="341"/>
                  <a:pt x="103" y="326"/>
                </a:cubicBezTo>
                <a:close/>
              </a:path>
            </a:pathLst>
          </a:custGeom>
          <a:solidFill>
            <a:srgbClr val="D3D3D3"/>
          </a:solidFill>
          <a:ln w="22225" cap="flat">
            <a:solidFill>
              <a:srgbClr val="D3D3D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503" name="Freeform 41"/>
          <p:cNvSpPr>
            <a:spLocks/>
          </p:cNvSpPr>
          <p:nvPr userDrawn="1"/>
        </p:nvSpPr>
        <p:spPr bwMode="grayWhite">
          <a:xfrm>
            <a:off x="3650619" y="-2770298"/>
            <a:ext cx="306388" cy="403225"/>
          </a:xfrm>
          <a:custGeom>
            <a:avLst/>
            <a:gdLst>
              <a:gd name="T0" fmla="*/ 24 w 213"/>
              <a:gd name="T1" fmla="*/ 272 h 281"/>
              <a:gd name="T2" fmla="*/ 13 w 213"/>
              <a:gd name="T3" fmla="*/ 247 h 281"/>
              <a:gd name="T4" fmla="*/ 9 w 213"/>
              <a:gd name="T5" fmla="*/ 218 h 281"/>
              <a:gd name="T6" fmla="*/ 21 w 213"/>
              <a:gd name="T7" fmla="*/ 70 h 281"/>
              <a:gd name="T8" fmla="*/ 32 w 213"/>
              <a:gd name="T9" fmla="*/ 36 h 281"/>
              <a:gd name="T10" fmla="*/ 92 w 213"/>
              <a:gd name="T11" fmla="*/ 2 h 281"/>
              <a:gd name="T12" fmla="*/ 124 w 213"/>
              <a:gd name="T13" fmla="*/ 8 h 281"/>
              <a:gd name="T14" fmla="*/ 149 w 213"/>
              <a:gd name="T15" fmla="*/ 17 h 281"/>
              <a:gd name="T16" fmla="*/ 200 w 213"/>
              <a:gd name="T17" fmla="*/ 39 h 281"/>
              <a:gd name="T18" fmla="*/ 207 w 213"/>
              <a:gd name="T19" fmla="*/ 62 h 281"/>
              <a:gd name="T20" fmla="*/ 194 w 213"/>
              <a:gd name="T21" fmla="*/ 81 h 281"/>
              <a:gd name="T22" fmla="*/ 187 w 213"/>
              <a:gd name="T23" fmla="*/ 99 h 281"/>
              <a:gd name="T24" fmla="*/ 171 w 213"/>
              <a:gd name="T25" fmla="*/ 131 h 281"/>
              <a:gd name="T26" fmla="*/ 153 w 213"/>
              <a:gd name="T27" fmla="*/ 174 h 281"/>
              <a:gd name="T28" fmla="*/ 143 w 213"/>
              <a:gd name="T29" fmla="*/ 199 h 281"/>
              <a:gd name="T30" fmla="*/ 113 w 213"/>
              <a:gd name="T31" fmla="*/ 202 h 281"/>
              <a:gd name="T32" fmla="*/ 85 w 213"/>
              <a:gd name="T33" fmla="*/ 207 h 281"/>
              <a:gd name="T34" fmla="*/ 77 w 213"/>
              <a:gd name="T35" fmla="*/ 263 h 281"/>
              <a:gd name="T36" fmla="*/ 44 w 213"/>
              <a:gd name="T37" fmla="*/ 281 h 281"/>
              <a:gd name="T38" fmla="*/ 24 w 213"/>
              <a:gd name="T39" fmla="*/ 27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3" h="281">
                <a:moveTo>
                  <a:pt x="24" y="272"/>
                </a:moveTo>
                <a:cubicBezTo>
                  <a:pt x="15" y="266"/>
                  <a:pt x="13" y="261"/>
                  <a:pt x="13" y="247"/>
                </a:cubicBezTo>
                <a:cubicBezTo>
                  <a:pt x="13" y="237"/>
                  <a:pt x="11" y="224"/>
                  <a:pt x="9" y="218"/>
                </a:cubicBezTo>
                <a:cubicBezTo>
                  <a:pt x="0" y="193"/>
                  <a:pt x="7" y="102"/>
                  <a:pt x="21" y="70"/>
                </a:cubicBezTo>
                <a:cubicBezTo>
                  <a:pt x="25" y="60"/>
                  <a:pt x="30" y="44"/>
                  <a:pt x="32" y="36"/>
                </a:cubicBezTo>
                <a:cubicBezTo>
                  <a:pt x="35" y="15"/>
                  <a:pt x="47" y="8"/>
                  <a:pt x="92" y="2"/>
                </a:cubicBezTo>
                <a:cubicBezTo>
                  <a:pt x="104" y="0"/>
                  <a:pt x="112" y="2"/>
                  <a:pt x="124" y="8"/>
                </a:cubicBezTo>
                <a:cubicBezTo>
                  <a:pt x="133" y="13"/>
                  <a:pt x="145" y="17"/>
                  <a:pt x="149" y="17"/>
                </a:cubicBezTo>
                <a:cubicBezTo>
                  <a:pt x="161" y="17"/>
                  <a:pt x="184" y="27"/>
                  <a:pt x="200" y="39"/>
                </a:cubicBezTo>
                <a:cubicBezTo>
                  <a:pt x="213" y="49"/>
                  <a:pt x="213" y="49"/>
                  <a:pt x="207" y="62"/>
                </a:cubicBezTo>
                <a:cubicBezTo>
                  <a:pt x="203" y="69"/>
                  <a:pt x="198" y="77"/>
                  <a:pt x="194" y="81"/>
                </a:cubicBezTo>
                <a:cubicBezTo>
                  <a:pt x="191" y="85"/>
                  <a:pt x="188" y="93"/>
                  <a:pt x="187" y="99"/>
                </a:cubicBezTo>
                <a:cubicBezTo>
                  <a:pt x="186" y="105"/>
                  <a:pt x="179" y="120"/>
                  <a:pt x="171" y="131"/>
                </a:cubicBezTo>
                <a:cubicBezTo>
                  <a:pt x="164" y="142"/>
                  <a:pt x="156" y="161"/>
                  <a:pt x="153" y="174"/>
                </a:cubicBezTo>
                <a:cubicBezTo>
                  <a:pt x="150" y="187"/>
                  <a:pt x="146" y="198"/>
                  <a:pt x="143" y="199"/>
                </a:cubicBezTo>
                <a:cubicBezTo>
                  <a:pt x="141" y="199"/>
                  <a:pt x="128" y="201"/>
                  <a:pt x="113" y="202"/>
                </a:cubicBezTo>
                <a:cubicBezTo>
                  <a:pt x="99" y="203"/>
                  <a:pt x="86" y="206"/>
                  <a:pt x="85" y="207"/>
                </a:cubicBezTo>
                <a:cubicBezTo>
                  <a:pt x="82" y="210"/>
                  <a:pt x="79" y="239"/>
                  <a:pt x="77" y="263"/>
                </a:cubicBezTo>
                <a:cubicBezTo>
                  <a:pt x="77" y="270"/>
                  <a:pt x="56" y="281"/>
                  <a:pt x="44" y="281"/>
                </a:cubicBezTo>
                <a:cubicBezTo>
                  <a:pt x="39" y="281"/>
                  <a:pt x="29" y="277"/>
                  <a:pt x="24" y="272"/>
                </a:cubicBezTo>
                <a:close/>
              </a:path>
            </a:pathLst>
          </a:custGeom>
          <a:solidFill>
            <a:srgbClr val="D3D3D3"/>
          </a:solidFill>
          <a:ln w="22225" cap="flat">
            <a:solidFill>
              <a:srgbClr val="D3D3D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504" name="Freeform 42"/>
          <p:cNvSpPr>
            <a:spLocks/>
          </p:cNvSpPr>
          <p:nvPr userDrawn="1"/>
        </p:nvSpPr>
        <p:spPr bwMode="grayWhite">
          <a:xfrm>
            <a:off x="4452309" y="-2717912"/>
            <a:ext cx="250825" cy="173039"/>
          </a:xfrm>
          <a:custGeom>
            <a:avLst/>
            <a:gdLst>
              <a:gd name="T0" fmla="*/ 45 w 175"/>
              <a:gd name="T1" fmla="*/ 103 h 120"/>
              <a:gd name="T2" fmla="*/ 2 w 175"/>
              <a:gd name="T3" fmla="*/ 9 h 120"/>
              <a:gd name="T4" fmla="*/ 103 w 175"/>
              <a:gd name="T5" fmla="*/ 11 h 120"/>
              <a:gd name="T6" fmla="*/ 168 w 175"/>
              <a:gd name="T7" fmla="*/ 78 h 120"/>
              <a:gd name="T8" fmla="*/ 134 w 175"/>
              <a:gd name="T9" fmla="*/ 99 h 120"/>
              <a:gd name="T10" fmla="*/ 92 w 175"/>
              <a:gd name="T11" fmla="*/ 107 h 120"/>
              <a:gd name="T12" fmla="*/ 45 w 175"/>
              <a:gd name="T13" fmla="*/ 103 h 120"/>
            </a:gdLst>
            <a:ahLst/>
            <a:cxnLst>
              <a:cxn ang="0">
                <a:pos x="T0" y="T1"/>
              </a:cxn>
              <a:cxn ang="0">
                <a:pos x="T2" y="T3"/>
              </a:cxn>
              <a:cxn ang="0">
                <a:pos x="T4" y="T5"/>
              </a:cxn>
              <a:cxn ang="0">
                <a:pos x="T6" y="T7"/>
              </a:cxn>
              <a:cxn ang="0">
                <a:pos x="T8" y="T9"/>
              </a:cxn>
              <a:cxn ang="0">
                <a:pos x="T10" y="T11"/>
              </a:cxn>
              <a:cxn ang="0">
                <a:pos x="T12" y="T13"/>
              </a:cxn>
            </a:cxnLst>
            <a:rect l="0" t="0" r="r" b="b"/>
            <a:pathLst>
              <a:path w="175" h="120">
                <a:moveTo>
                  <a:pt x="45" y="103"/>
                </a:moveTo>
                <a:cubicBezTo>
                  <a:pt x="26" y="72"/>
                  <a:pt x="0" y="15"/>
                  <a:pt x="2" y="9"/>
                </a:cubicBezTo>
                <a:cubicBezTo>
                  <a:pt x="5" y="0"/>
                  <a:pt x="86" y="1"/>
                  <a:pt x="103" y="11"/>
                </a:cubicBezTo>
                <a:cubicBezTo>
                  <a:pt x="126" y="23"/>
                  <a:pt x="154" y="53"/>
                  <a:pt x="168" y="78"/>
                </a:cubicBezTo>
                <a:cubicBezTo>
                  <a:pt x="175" y="93"/>
                  <a:pt x="164" y="100"/>
                  <a:pt x="134" y="99"/>
                </a:cubicBezTo>
                <a:cubicBezTo>
                  <a:pt x="115" y="98"/>
                  <a:pt x="105" y="100"/>
                  <a:pt x="92" y="107"/>
                </a:cubicBezTo>
                <a:cubicBezTo>
                  <a:pt x="68" y="120"/>
                  <a:pt x="55" y="118"/>
                  <a:pt x="45" y="103"/>
                </a:cubicBezTo>
                <a:close/>
              </a:path>
            </a:pathLst>
          </a:custGeom>
          <a:solidFill>
            <a:srgbClr val="D3D3D3"/>
          </a:solidFill>
          <a:ln w="22225" cap="flat">
            <a:solidFill>
              <a:srgbClr val="D3D3D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505" name="Freeform 43"/>
          <p:cNvSpPr>
            <a:spLocks/>
          </p:cNvSpPr>
          <p:nvPr userDrawn="1"/>
        </p:nvSpPr>
        <p:spPr bwMode="grayWhite">
          <a:xfrm>
            <a:off x="3655382" y="-3337037"/>
            <a:ext cx="844551" cy="509588"/>
          </a:xfrm>
          <a:custGeom>
            <a:avLst/>
            <a:gdLst>
              <a:gd name="T0" fmla="*/ 200 w 587"/>
              <a:gd name="T1" fmla="*/ 344 h 354"/>
              <a:gd name="T2" fmla="*/ 172 w 587"/>
              <a:gd name="T3" fmla="*/ 335 h 354"/>
              <a:gd name="T4" fmla="*/ 144 w 587"/>
              <a:gd name="T5" fmla="*/ 299 h 354"/>
              <a:gd name="T6" fmla="*/ 139 w 587"/>
              <a:gd name="T7" fmla="*/ 267 h 354"/>
              <a:gd name="T8" fmla="*/ 135 w 587"/>
              <a:gd name="T9" fmla="*/ 209 h 354"/>
              <a:gd name="T10" fmla="*/ 140 w 587"/>
              <a:gd name="T11" fmla="*/ 179 h 354"/>
              <a:gd name="T12" fmla="*/ 130 w 587"/>
              <a:gd name="T13" fmla="*/ 143 h 354"/>
              <a:gd name="T14" fmla="*/ 117 w 587"/>
              <a:gd name="T15" fmla="*/ 121 h 354"/>
              <a:gd name="T16" fmla="*/ 86 w 587"/>
              <a:gd name="T17" fmla="*/ 110 h 354"/>
              <a:gd name="T18" fmla="*/ 50 w 587"/>
              <a:gd name="T19" fmla="*/ 105 h 354"/>
              <a:gd name="T20" fmla="*/ 1 w 587"/>
              <a:gd name="T21" fmla="*/ 43 h 354"/>
              <a:gd name="T22" fmla="*/ 3 w 587"/>
              <a:gd name="T23" fmla="*/ 20 h 354"/>
              <a:gd name="T24" fmla="*/ 49 w 587"/>
              <a:gd name="T25" fmla="*/ 4 h 354"/>
              <a:gd name="T26" fmla="*/ 108 w 587"/>
              <a:gd name="T27" fmla="*/ 42 h 354"/>
              <a:gd name="T28" fmla="*/ 148 w 587"/>
              <a:gd name="T29" fmla="*/ 53 h 354"/>
              <a:gd name="T30" fmla="*/ 194 w 587"/>
              <a:gd name="T31" fmla="*/ 79 h 354"/>
              <a:gd name="T32" fmla="*/ 204 w 587"/>
              <a:gd name="T33" fmla="*/ 94 h 354"/>
              <a:gd name="T34" fmla="*/ 217 w 587"/>
              <a:gd name="T35" fmla="*/ 133 h 354"/>
              <a:gd name="T36" fmla="*/ 225 w 587"/>
              <a:gd name="T37" fmla="*/ 163 h 354"/>
              <a:gd name="T38" fmla="*/ 238 w 587"/>
              <a:gd name="T39" fmla="*/ 185 h 354"/>
              <a:gd name="T40" fmla="*/ 255 w 587"/>
              <a:gd name="T41" fmla="*/ 196 h 354"/>
              <a:gd name="T42" fmla="*/ 306 w 587"/>
              <a:gd name="T43" fmla="*/ 205 h 354"/>
              <a:gd name="T44" fmla="*/ 340 w 587"/>
              <a:gd name="T45" fmla="*/ 212 h 354"/>
              <a:gd name="T46" fmla="*/ 363 w 587"/>
              <a:gd name="T47" fmla="*/ 201 h 354"/>
              <a:gd name="T48" fmla="*/ 389 w 587"/>
              <a:gd name="T49" fmla="*/ 191 h 354"/>
              <a:gd name="T50" fmla="*/ 410 w 587"/>
              <a:gd name="T51" fmla="*/ 176 h 354"/>
              <a:gd name="T52" fmla="*/ 460 w 587"/>
              <a:gd name="T53" fmla="*/ 163 h 354"/>
              <a:gd name="T54" fmla="*/ 536 w 587"/>
              <a:gd name="T55" fmla="*/ 185 h 354"/>
              <a:gd name="T56" fmla="*/ 574 w 587"/>
              <a:gd name="T57" fmla="*/ 249 h 354"/>
              <a:gd name="T58" fmla="*/ 575 w 587"/>
              <a:gd name="T59" fmla="*/ 266 h 354"/>
              <a:gd name="T60" fmla="*/ 573 w 587"/>
              <a:gd name="T61" fmla="*/ 285 h 354"/>
              <a:gd name="T62" fmla="*/ 565 w 587"/>
              <a:gd name="T63" fmla="*/ 307 h 354"/>
              <a:gd name="T64" fmla="*/ 545 w 587"/>
              <a:gd name="T65" fmla="*/ 330 h 354"/>
              <a:gd name="T66" fmla="*/ 456 w 587"/>
              <a:gd name="T67" fmla="*/ 330 h 354"/>
              <a:gd name="T68" fmla="*/ 446 w 587"/>
              <a:gd name="T69" fmla="*/ 327 h 354"/>
              <a:gd name="T70" fmla="*/ 422 w 587"/>
              <a:gd name="T71" fmla="*/ 341 h 354"/>
              <a:gd name="T72" fmla="*/ 344 w 587"/>
              <a:gd name="T73" fmla="*/ 352 h 354"/>
              <a:gd name="T74" fmla="*/ 260 w 587"/>
              <a:gd name="T75" fmla="*/ 335 h 354"/>
              <a:gd name="T76" fmla="*/ 238 w 587"/>
              <a:gd name="T77" fmla="*/ 341 h 354"/>
              <a:gd name="T78" fmla="*/ 220 w 587"/>
              <a:gd name="T79" fmla="*/ 354 h 354"/>
              <a:gd name="T80" fmla="*/ 200 w 587"/>
              <a:gd name="T81" fmla="*/ 344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87" h="354">
                <a:moveTo>
                  <a:pt x="200" y="344"/>
                </a:moveTo>
                <a:cubicBezTo>
                  <a:pt x="191" y="339"/>
                  <a:pt x="179" y="335"/>
                  <a:pt x="172" y="335"/>
                </a:cubicBezTo>
                <a:cubicBezTo>
                  <a:pt x="151" y="335"/>
                  <a:pt x="145" y="327"/>
                  <a:pt x="144" y="299"/>
                </a:cubicBezTo>
                <a:cubicBezTo>
                  <a:pt x="143" y="286"/>
                  <a:pt x="141" y="272"/>
                  <a:pt x="139" y="267"/>
                </a:cubicBezTo>
                <a:cubicBezTo>
                  <a:pt x="132" y="256"/>
                  <a:pt x="130" y="218"/>
                  <a:pt x="135" y="209"/>
                </a:cubicBezTo>
                <a:cubicBezTo>
                  <a:pt x="137" y="205"/>
                  <a:pt x="140" y="191"/>
                  <a:pt x="140" y="179"/>
                </a:cubicBezTo>
                <a:cubicBezTo>
                  <a:pt x="141" y="160"/>
                  <a:pt x="139" y="154"/>
                  <a:pt x="130" y="143"/>
                </a:cubicBezTo>
                <a:cubicBezTo>
                  <a:pt x="124" y="135"/>
                  <a:pt x="118" y="125"/>
                  <a:pt x="117" y="121"/>
                </a:cubicBezTo>
                <a:cubicBezTo>
                  <a:pt x="116" y="114"/>
                  <a:pt x="112" y="112"/>
                  <a:pt x="86" y="110"/>
                </a:cubicBezTo>
                <a:cubicBezTo>
                  <a:pt x="70" y="109"/>
                  <a:pt x="53" y="106"/>
                  <a:pt x="50" y="105"/>
                </a:cubicBezTo>
                <a:cubicBezTo>
                  <a:pt x="41" y="101"/>
                  <a:pt x="4" y="54"/>
                  <a:pt x="1" y="43"/>
                </a:cubicBezTo>
                <a:cubicBezTo>
                  <a:pt x="0" y="38"/>
                  <a:pt x="1" y="28"/>
                  <a:pt x="3" y="20"/>
                </a:cubicBezTo>
                <a:cubicBezTo>
                  <a:pt x="7" y="4"/>
                  <a:pt x="17" y="0"/>
                  <a:pt x="49" y="4"/>
                </a:cubicBezTo>
                <a:cubicBezTo>
                  <a:pt x="82" y="8"/>
                  <a:pt x="101" y="20"/>
                  <a:pt x="108" y="42"/>
                </a:cubicBezTo>
                <a:cubicBezTo>
                  <a:pt x="111" y="52"/>
                  <a:pt x="121" y="55"/>
                  <a:pt x="148" y="53"/>
                </a:cubicBezTo>
                <a:cubicBezTo>
                  <a:pt x="180" y="51"/>
                  <a:pt x="194" y="58"/>
                  <a:pt x="194" y="79"/>
                </a:cubicBezTo>
                <a:cubicBezTo>
                  <a:pt x="194" y="86"/>
                  <a:pt x="197" y="91"/>
                  <a:pt x="204" y="94"/>
                </a:cubicBezTo>
                <a:cubicBezTo>
                  <a:pt x="220" y="101"/>
                  <a:pt x="224" y="114"/>
                  <a:pt x="217" y="133"/>
                </a:cubicBezTo>
                <a:cubicBezTo>
                  <a:pt x="211" y="149"/>
                  <a:pt x="211" y="150"/>
                  <a:pt x="225" y="163"/>
                </a:cubicBezTo>
                <a:cubicBezTo>
                  <a:pt x="232" y="170"/>
                  <a:pt x="238" y="180"/>
                  <a:pt x="238" y="185"/>
                </a:cubicBezTo>
                <a:cubicBezTo>
                  <a:pt x="238" y="192"/>
                  <a:pt x="241" y="194"/>
                  <a:pt x="255" y="196"/>
                </a:cubicBezTo>
                <a:cubicBezTo>
                  <a:pt x="264" y="197"/>
                  <a:pt x="287" y="202"/>
                  <a:pt x="306" y="205"/>
                </a:cubicBezTo>
                <a:cubicBezTo>
                  <a:pt x="340" y="212"/>
                  <a:pt x="340" y="212"/>
                  <a:pt x="340" y="212"/>
                </a:cubicBezTo>
                <a:cubicBezTo>
                  <a:pt x="363" y="201"/>
                  <a:pt x="363" y="201"/>
                  <a:pt x="363" y="201"/>
                </a:cubicBezTo>
                <a:cubicBezTo>
                  <a:pt x="375" y="195"/>
                  <a:pt x="387" y="191"/>
                  <a:pt x="389" y="191"/>
                </a:cubicBezTo>
                <a:cubicBezTo>
                  <a:pt x="391" y="191"/>
                  <a:pt x="401" y="184"/>
                  <a:pt x="410" y="176"/>
                </a:cubicBezTo>
                <a:cubicBezTo>
                  <a:pt x="427" y="162"/>
                  <a:pt x="428" y="162"/>
                  <a:pt x="460" y="163"/>
                </a:cubicBezTo>
                <a:cubicBezTo>
                  <a:pt x="497" y="164"/>
                  <a:pt x="509" y="167"/>
                  <a:pt x="536" y="185"/>
                </a:cubicBezTo>
                <a:cubicBezTo>
                  <a:pt x="569" y="206"/>
                  <a:pt x="587" y="236"/>
                  <a:pt x="574" y="249"/>
                </a:cubicBezTo>
                <a:cubicBezTo>
                  <a:pt x="572" y="252"/>
                  <a:pt x="572" y="257"/>
                  <a:pt x="575" y="266"/>
                </a:cubicBezTo>
                <a:cubicBezTo>
                  <a:pt x="579" y="276"/>
                  <a:pt x="579" y="279"/>
                  <a:pt x="573" y="285"/>
                </a:cubicBezTo>
                <a:cubicBezTo>
                  <a:pt x="570" y="289"/>
                  <a:pt x="566" y="299"/>
                  <a:pt x="565" y="307"/>
                </a:cubicBezTo>
                <a:cubicBezTo>
                  <a:pt x="564" y="319"/>
                  <a:pt x="561" y="322"/>
                  <a:pt x="545" y="330"/>
                </a:cubicBezTo>
                <a:cubicBezTo>
                  <a:pt x="511" y="347"/>
                  <a:pt x="463" y="347"/>
                  <a:pt x="456" y="330"/>
                </a:cubicBezTo>
                <a:cubicBezTo>
                  <a:pt x="452" y="323"/>
                  <a:pt x="451" y="322"/>
                  <a:pt x="446" y="327"/>
                </a:cubicBezTo>
                <a:cubicBezTo>
                  <a:pt x="443" y="330"/>
                  <a:pt x="432" y="337"/>
                  <a:pt x="422" y="341"/>
                </a:cubicBezTo>
                <a:cubicBezTo>
                  <a:pt x="407" y="349"/>
                  <a:pt x="396" y="350"/>
                  <a:pt x="344" y="352"/>
                </a:cubicBezTo>
                <a:cubicBezTo>
                  <a:pt x="280" y="353"/>
                  <a:pt x="265" y="350"/>
                  <a:pt x="260" y="335"/>
                </a:cubicBezTo>
                <a:cubicBezTo>
                  <a:pt x="257" y="324"/>
                  <a:pt x="254" y="324"/>
                  <a:pt x="238" y="341"/>
                </a:cubicBezTo>
                <a:cubicBezTo>
                  <a:pt x="231" y="348"/>
                  <a:pt x="223" y="354"/>
                  <a:pt x="220" y="354"/>
                </a:cubicBezTo>
                <a:cubicBezTo>
                  <a:pt x="218" y="354"/>
                  <a:pt x="209" y="350"/>
                  <a:pt x="200" y="344"/>
                </a:cubicBezTo>
                <a:close/>
              </a:path>
            </a:pathLst>
          </a:custGeom>
          <a:solidFill>
            <a:srgbClr val="D3D3D3"/>
          </a:solidFill>
          <a:ln w="22225" cap="flat">
            <a:solidFill>
              <a:srgbClr val="D3D3D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506" name="Freeform 44"/>
          <p:cNvSpPr>
            <a:spLocks/>
          </p:cNvSpPr>
          <p:nvPr userDrawn="1"/>
        </p:nvSpPr>
        <p:spPr bwMode="grayWhite">
          <a:xfrm>
            <a:off x="3642682" y="-3059223"/>
            <a:ext cx="173039" cy="204788"/>
          </a:xfrm>
          <a:custGeom>
            <a:avLst/>
            <a:gdLst>
              <a:gd name="T0" fmla="*/ 73 w 120"/>
              <a:gd name="T1" fmla="*/ 139 h 143"/>
              <a:gd name="T2" fmla="*/ 9 w 120"/>
              <a:gd name="T3" fmla="*/ 95 h 143"/>
              <a:gd name="T4" fmla="*/ 19 w 120"/>
              <a:gd name="T5" fmla="*/ 41 h 143"/>
              <a:gd name="T6" fmla="*/ 50 w 120"/>
              <a:gd name="T7" fmla="*/ 6 h 143"/>
              <a:gd name="T8" fmla="*/ 104 w 120"/>
              <a:gd name="T9" fmla="*/ 18 h 143"/>
              <a:gd name="T10" fmla="*/ 118 w 120"/>
              <a:gd name="T11" fmla="*/ 74 h 143"/>
              <a:gd name="T12" fmla="*/ 110 w 120"/>
              <a:gd name="T13" fmla="*/ 131 h 143"/>
              <a:gd name="T14" fmla="*/ 73 w 120"/>
              <a:gd name="T15" fmla="*/ 139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143">
                <a:moveTo>
                  <a:pt x="73" y="139"/>
                </a:moveTo>
                <a:cubicBezTo>
                  <a:pt x="65" y="137"/>
                  <a:pt x="21" y="106"/>
                  <a:pt x="9" y="95"/>
                </a:cubicBezTo>
                <a:cubicBezTo>
                  <a:pt x="0" y="85"/>
                  <a:pt x="2" y="73"/>
                  <a:pt x="19" y="41"/>
                </a:cubicBezTo>
                <a:cubicBezTo>
                  <a:pt x="32" y="16"/>
                  <a:pt x="37" y="11"/>
                  <a:pt x="50" y="6"/>
                </a:cubicBezTo>
                <a:cubicBezTo>
                  <a:pt x="68" y="0"/>
                  <a:pt x="87" y="4"/>
                  <a:pt x="104" y="18"/>
                </a:cubicBezTo>
                <a:cubicBezTo>
                  <a:pt x="114" y="27"/>
                  <a:pt x="115" y="30"/>
                  <a:pt x="118" y="74"/>
                </a:cubicBezTo>
                <a:cubicBezTo>
                  <a:pt x="120" y="121"/>
                  <a:pt x="120" y="121"/>
                  <a:pt x="110" y="131"/>
                </a:cubicBezTo>
                <a:cubicBezTo>
                  <a:pt x="100" y="141"/>
                  <a:pt x="91" y="143"/>
                  <a:pt x="73" y="139"/>
                </a:cubicBezTo>
                <a:close/>
              </a:path>
            </a:pathLst>
          </a:custGeom>
          <a:solidFill>
            <a:srgbClr val="D3D3D3"/>
          </a:solidFill>
          <a:ln w="22225" cap="flat">
            <a:solidFill>
              <a:srgbClr val="D3D3D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507" name="Freeform 45"/>
          <p:cNvSpPr>
            <a:spLocks/>
          </p:cNvSpPr>
          <p:nvPr userDrawn="1"/>
        </p:nvSpPr>
        <p:spPr bwMode="grayWhite">
          <a:xfrm>
            <a:off x="3312482" y="-3273536"/>
            <a:ext cx="306388" cy="320675"/>
          </a:xfrm>
          <a:custGeom>
            <a:avLst/>
            <a:gdLst>
              <a:gd name="T0" fmla="*/ 145 w 213"/>
              <a:gd name="T1" fmla="*/ 214 h 223"/>
              <a:gd name="T2" fmla="*/ 108 w 213"/>
              <a:gd name="T3" fmla="*/ 175 h 223"/>
              <a:gd name="T4" fmla="*/ 121 w 213"/>
              <a:gd name="T5" fmla="*/ 157 h 223"/>
              <a:gd name="T6" fmla="*/ 134 w 213"/>
              <a:gd name="T7" fmla="*/ 146 h 223"/>
              <a:gd name="T8" fmla="*/ 97 w 213"/>
              <a:gd name="T9" fmla="*/ 147 h 223"/>
              <a:gd name="T10" fmla="*/ 48 w 213"/>
              <a:gd name="T11" fmla="*/ 120 h 223"/>
              <a:gd name="T12" fmla="*/ 20 w 213"/>
              <a:gd name="T13" fmla="*/ 79 h 223"/>
              <a:gd name="T14" fmla="*/ 0 w 213"/>
              <a:gd name="T15" fmla="*/ 64 h 223"/>
              <a:gd name="T16" fmla="*/ 7 w 213"/>
              <a:gd name="T17" fmla="*/ 50 h 223"/>
              <a:gd name="T18" fmla="*/ 32 w 213"/>
              <a:gd name="T19" fmla="*/ 41 h 223"/>
              <a:gd name="T20" fmla="*/ 64 w 213"/>
              <a:gd name="T21" fmla="*/ 56 h 223"/>
              <a:gd name="T22" fmla="*/ 82 w 213"/>
              <a:gd name="T23" fmla="*/ 80 h 223"/>
              <a:gd name="T24" fmla="*/ 112 w 213"/>
              <a:gd name="T25" fmla="*/ 99 h 223"/>
              <a:gd name="T26" fmla="*/ 125 w 213"/>
              <a:gd name="T27" fmla="*/ 84 h 223"/>
              <a:gd name="T28" fmla="*/ 99 w 213"/>
              <a:gd name="T29" fmla="*/ 47 h 223"/>
              <a:gd name="T30" fmla="*/ 88 w 213"/>
              <a:gd name="T31" fmla="*/ 36 h 223"/>
              <a:gd name="T32" fmla="*/ 108 w 213"/>
              <a:gd name="T33" fmla="*/ 15 h 223"/>
              <a:gd name="T34" fmla="*/ 139 w 213"/>
              <a:gd name="T35" fmla="*/ 1 h 223"/>
              <a:gd name="T36" fmla="*/ 172 w 213"/>
              <a:gd name="T37" fmla="*/ 4 h 223"/>
              <a:gd name="T38" fmla="*/ 203 w 213"/>
              <a:gd name="T39" fmla="*/ 13 h 223"/>
              <a:gd name="T40" fmla="*/ 213 w 213"/>
              <a:gd name="T41" fmla="*/ 19 h 223"/>
              <a:gd name="T42" fmla="*/ 211 w 213"/>
              <a:gd name="T43" fmla="*/ 93 h 223"/>
              <a:gd name="T44" fmla="*/ 204 w 213"/>
              <a:gd name="T45" fmla="*/ 173 h 223"/>
              <a:gd name="T46" fmla="*/ 202 w 213"/>
              <a:gd name="T47" fmla="*/ 192 h 223"/>
              <a:gd name="T48" fmla="*/ 179 w 213"/>
              <a:gd name="T49" fmla="*/ 222 h 223"/>
              <a:gd name="T50" fmla="*/ 145 w 213"/>
              <a:gd name="T51" fmla="*/ 214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3" h="223">
                <a:moveTo>
                  <a:pt x="145" y="214"/>
                </a:moveTo>
                <a:cubicBezTo>
                  <a:pt x="127" y="206"/>
                  <a:pt x="108" y="186"/>
                  <a:pt x="108" y="175"/>
                </a:cubicBezTo>
                <a:cubicBezTo>
                  <a:pt x="108" y="171"/>
                  <a:pt x="114" y="163"/>
                  <a:pt x="121" y="157"/>
                </a:cubicBezTo>
                <a:cubicBezTo>
                  <a:pt x="134" y="146"/>
                  <a:pt x="134" y="146"/>
                  <a:pt x="134" y="146"/>
                </a:cubicBezTo>
                <a:cubicBezTo>
                  <a:pt x="97" y="147"/>
                  <a:pt x="97" y="147"/>
                  <a:pt x="97" y="147"/>
                </a:cubicBezTo>
                <a:cubicBezTo>
                  <a:pt x="54" y="148"/>
                  <a:pt x="48" y="145"/>
                  <a:pt x="48" y="120"/>
                </a:cubicBezTo>
                <a:cubicBezTo>
                  <a:pt x="48" y="100"/>
                  <a:pt x="43" y="93"/>
                  <a:pt x="20" y="79"/>
                </a:cubicBezTo>
                <a:cubicBezTo>
                  <a:pt x="9" y="72"/>
                  <a:pt x="0" y="66"/>
                  <a:pt x="0" y="64"/>
                </a:cubicBezTo>
                <a:cubicBezTo>
                  <a:pt x="0" y="63"/>
                  <a:pt x="3" y="57"/>
                  <a:pt x="7" y="50"/>
                </a:cubicBezTo>
                <a:cubicBezTo>
                  <a:pt x="13" y="40"/>
                  <a:pt x="15" y="39"/>
                  <a:pt x="32" y="41"/>
                </a:cubicBezTo>
                <a:cubicBezTo>
                  <a:pt x="54" y="44"/>
                  <a:pt x="64" y="49"/>
                  <a:pt x="64" y="56"/>
                </a:cubicBezTo>
                <a:cubicBezTo>
                  <a:pt x="64" y="59"/>
                  <a:pt x="72" y="70"/>
                  <a:pt x="82" y="80"/>
                </a:cubicBezTo>
                <a:cubicBezTo>
                  <a:pt x="95" y="94"/>
                  <a:pt x="103" y="99"/>
                  <a:pt x="112" y="99"/>
                </a:cubicBezTo>
                <a:cubicBezTo>
                  <a:pt x="122" y="99"/>
                  <a:pt x="123" y="97"/>
                  <a:pt x="125" y="84"/>
                </a:cubicBezTo>
                <a:cubicBezTo>
                  <a:pt x="127" y="68"/>
                  <a:pt x="121" y="60"/>
                  <a:pt x="99" y="47"/>
                </a:cubicBezTo>
                <a:cubicBezTo>
                  <a:pt x="93" y="44"/>
                  <a:pt x="88" y="39"/>
                  <a:pt x="88" y="36"/>
                </a:cubicBezTo>
                <a:cubicBezTo>
                  <a:pt x="88" y="33"/>
                  <a:pt x="97" y="24"/>
                  <a:pt x="108" y="15"/>
                </a:cubicBezTo>
                <a:cubicBezTo>
                  <a:pt x="123" y="3"/>
                  <a:pt x="131" y="0"/>
                  <a:pt x="139" y="1"/>
                </a:cubicBezTo>
                <a:cubicBezTo>
                  <a:pt x="145" y="2"/>
                  <a:pt x="160" y="3"/>
                  <a:pt x="172" y="4"/>
                </a:cubicBezTo>
                <a:cubicBezTo>
                  <a:pt x="184" y="6"/>
                  <a:pt x="198" y="9"/>
                  <a:pt x="203" y="13"/>
                </a:cubicBezTo>
                <a:cubicBezTo>
                  <a:pt x="213" y="19"/>
                  <a:pt x="213" y="19"/>
                  <a:pt x="213" y="19"/>
                </a:cubicBezTo>
                <a:cubicBezTo>
                  <a:pt x="211" y="93"/>
                  <a:pt x="211" y="93"/>
                  <a:pt x="211" y="93"/>
                </a:cubicBezTo>
                <a:cubicBezTo>
                  <a:pt x="209" y="137"/>
                  <a:pt x="207" y="170"/>
                  <a:pt x="204" y="173"/>
                </a:cubicBezTo>
                <a:cubicBezTo>
                  <a:pt x="201" y="176"/>
                  <a:pt x="201" y="184"/>
                  <a:pt x="202" y="192"/>
                </a:cubicBezTo>
                <a:cubicBezTo>
                  <a:pt x="206" y="213"/>
                  <a:pt x="199" y="223"/>
                  <a:pt x="179" y="222"/>
                </a:cubicBezTo>
                <a:cubicBezTo>
                  <a:pt x="170" y="222"/>
                  <a:pt x="155" y="218"/>
                  <a:pt x="145" y="214"/>
                </a:cubicBezTo>
                <a:close/>
              </a:path>
            </a:pathLst>
          </a:custGeom>
          <a:solidFill>
            <a:srgbClr val="D3D3D3"/>
          </a:solidFill>
          <a:ln w="22225" cap="flat">
            <a:solidFill>
              <a:srgbClr val="D3D3D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508" name="Freeform 46"/>
          <p:cNvSpPr>
            <a:spLocks/>
          </p:cNvSpPr>
          <p:nvPr userDrawn="1"/>
        </p:nvSpPr>
        <p:spPr bwMode="grayWhite">
          <a:xfrm>
            <a:off x="3023556" y="-3381487"/>
            <a:ext cx="242888" cy="406400"/>
          </a:xfrm>
          <a:custGeom>
            <a:avLst/>
            <a:gdLst>
              <a:gd name="T0" fmla="*/ 56 w 168"/>
              <a:gd name="T1" fmla="*/ 264 h 282"/>
              <a:gd name="T2" fmla="*/ 17 w 168"/>
              <a:gd name="T3" fmla="*/ 263 h 282"/>
              <a:gd name="T4" fmla="*/ 6 w 168"/>
              <a:gd name="T5" fmla="*/ 266 h 282"/>
              <a:gd name="T6" fmla="*/ 29 w 168"/>
              <a:gd name="T7" fmla="*/ 173 h 282"/>
              <a:gd name="T8" fmla="*/ 33 w 168"/>
              <a:gd name="T9" fmla="*/ 152 h 282"/>
              <a:gd name="T10" fmla="*/ 60 w 168"/>
              <a:gd name="T11" fmla="*/ 19 h 282"/>
              <a:gd name="T12" fmla="*/ 93 w 168"/>
              <a:gd name="T13" fmla="*/ 35 h 282"/>
              <a:gd name="T14" fmla="*/ 92 w 168"/>
              <a:gd name="T15" fmla="*/ 51 h 282"/>
              <a:gd name="T16" fmla="*/ 90 w 168"/>
              <a:gd name="T17" fmla="*/ 97 h 282"/>
              <a:gd name="T18" fmla="*/ 87 w 168"/>
              <a:gd name="T19" fmla="*/ 120 h 282"/>
              <a:gd name="T20" fmla="*/ 97 w 168"/>
              <a:gd name="T21" fmla="*/ 137 h 282"/>
              <a:gd name="T22" fmla="*/ 124 w 168"/>
              <a:gd name="T23" fmla="*/ 133 h 282"/>
              <a:gd name="T24" fmla="*/ 149 w 168"/>
              <a:gd name="T25" fmla="*/ 136 h 282"/>
              <a:gd name="T26" fmla="*/ 155 w 168"/>
              <a:gd name="T27" fmla="*/ 223 h 282"/>
              <a:gd name="T28" fmla="*/ 141 w 168"/>
              <a:gd name="T29" fmla="*/ 244 h 282"/>
              <a:gd name="T30" fmla="*/ 56 w 168"/>
              <a:gd name="T31" fmla="*/ 26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8" h="282">
                <a:moveTo>
                  <a:pt x="56" y="264"/>
                </a:moveTo>
                <a:cubicBezTo>
                  <a:pt x="39" y="254"/>
                  <a:pt x="28" y="254"/>
                  <a:pt x="17" y="263"/>
                </a:cubicBezTo>
                <a:cubicBezTo>
                  <a:pt x="14" y="266"/>
                  <a:pt x="9" y="268"/>
                  <a:pt x="6" y="266"/>
                </a:cubicBezTo>
                <a:cubicBezTo>
                  <a:pt x="0" y="262"/>
                  <a:pt x="22" y="171"/>
                  <a:pt x="29" y="173"/>
                </a:cubicBezTo>
                <a:cubicBezTo>
                  <a:pt x="32" y="173"/>
                  <a:pt x="33" y="166"/>
                  <a:pt x="33" y="152"/>
                </a:cubicBezTo>
                <a:cubicBezTo>
                  <a:pt x="33" y="125"/>
                  <a:pt x="52" y="31"/>
                  <a:pt x="60" y="19"/>
                </a:cubicBezTo>
                <a:cubicBezTo>
                  <a:pt x="71" y="0"/>
                  <a:pt x="103" y="15"/>
                  <a:pt x="93" y="35"/>
                </a:cubicBezTo>
                <a:cubicBezTo>
                  <a:pt x="90" y="40"/>
                  <a:pt x="90" y="46"/>
                  <a:pt x="92" y="51"/>
                </a:cubicBezTo>
                <a:cubicBezTo>
                  <a:pt x="96" y="61"/>
                  <a:pt x="95" y="86"/>
                  <a:pt x="90" y="97"/>
                </a:cubicBezTo>
                <a:cubicBezTo>
                  <a:pt x="88" y="100"/>
                  <a:pt x="86" y="111"/>
                  <a:pt x="87" y="120"/>
                </a:cubicBezTo>
                <a:cubicBezTo>
                  <a:pt x="87" y="133"/>
                  <a:pt x="89" y="136"/>
                  <a:pt x="97" y="137"/>
                </a:cubicBezTo>
                <a:cubicBezTo>
                  <a:pt x="102" y="138"/>
                  <a:pt x="114" y="136"/>
                  <a:pt x="124" y="133"/>
                </a:cubicBezTo>
                <a:cubicBezTo>
                  <a:pt x="140" y="129"/>
                  <a:pt x="142" y="129"/>
                  <a:pt x="149" y="136"/>
                </a:cubicBezTo>
                <a:cubicBezTo>
                  <a:pt x="164" y="151"/>
                  <a:pt x="168" y="206"/>
                  <a:pt x="155" y="223"/>
                </a:cubicBezTo>
                <a:cubicBezTo>
                  <a:pt x="152" y="228"/>
                  <a:pt x="145" y="237"/>
                  <a:pt x="141" y="244"/>
                </a:cubicBezTo>
                <a:cubicBezTo>
                  <a:pt x="122" y="274"/>
                  <a:pt x="85" y="282"/>
                  <a:pt x="56" y="264"/>
                </a:cubicBezTo>
                <a:close/>
              </a:path>
            </a:pathLst>
          </a:custGeom>
          <a:solidFill>
            <a:srgbClr val="D3D3D3"/>
          </a:solidFill>
          <a:ln w="22225" cap="flat">
            <a:solidFill>
              <a:srgbClr val="D3D3D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509" name="Freeform 47"/>
          <p:cNvSpPr>
            <a:spLocks/>
          </p:cNvSpPr>
          <p:nvPr userDrawn="1"/>
        </p:nvSpPr>
        <p:spPr bwMode="grayWhite">
          <a:xfrm>
            <a:off x="3256919" y="-3056048"/>
            <a:ext cx="77788" cy="66675"/>
          </a:xfrm>
          <a:custGeom>
            <a:avLst/>
            <a:gdLst>
              <a:gd name="T0" fmla="*/ 3 w 54"/>
              <a:gd name="T1" fmla="*/ 37 h 47"/>
              <a:gd name="T2" fmla="*/ 6 w 54"/>
              <a:gd name="T3" fmla="*/ 16 h 47"/>
              <a:gd name="T4" fmla="*/ 13 w 54"/>
              <a:gd name="T5" fmla="*/ 5 h 47"/>
              <a:gd name="T6" fmla="*/ 26 w 54"/>
              <a:gd name="T7" fmla="*/ 2 h 47"/>
              <a:gd name="T8" fmla="*/ 47 w 54"/>
              <a:gd name="T9" fmla="*/ 18 h 47"/>
              <a:gd name="T10" fmla="*/ 52 w 54"/>
              <a:gd name="T11" fmla="*/ 41 h 47"/>
              <a:gd name="T12" fmla="*/ 27 w 54"/>
              <a:gd name="T13" fmla="*/ 46 h 47"/>
              <a:gd name="T14" fmla="*/ 3 w 54"/>
              <a:gd name="T15" fmla="*/ 3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47">
                <a:moveTo>
                  <a:pt x="3" y="37"/>
                </a:moveTo>
                <a:cubicBezTo>
                  <a:pt x="0" y="30"/>
                  <a:pt x="1" y="24"/>
                  <a:pt x="6" y="16"/>
                </a:cubicBezTo>
                <a:cubicBezTo>
                  <a:pt x="10" y="10"/>
                  <a:pt x="13" y="5"/>
                  <a:pt x="13" y="5"/>
                </a:cubicBezTo>
                <a:cubicBezTo>
                  <a:pt x="13" y="4"/>
                  <a:pt x="19" y="3"/>
                  <a:pt x="26" y="2"/>
                </a:cubicBezTo>
                <a:cubicBezTo>
                  <a:pt x="38" y="0"/>
                  <a:pt x="39" y="1"/>
                  <a:pt x="47" y="18"/>
                </a:cubicBezTo>
                <a:cubicBezTo>
                  <a:pt x="52" y="30"/>
                  <a:pt x="54" y="38"/>
                  <a:pt x="52" y="41"/>
                </a:cubicBezTo>
                <a:cubicBezTo>
                  <a:pt x="50" y="43"/>
                  <a:pt x="39" y="45"/>
                  <a:pt x="27" y="46"/>
                </a:cubicBezTo>
                <a:cubicBezTo>
                  <a:pt x="8" y="47"/>
                  <a:pt x="6" y="46"/>
                  <a:pt x="3" y="37"/>
                </a:cubicBezTo>
                <a:close/>
              </a:path>
            </a:pathLst>
          </a:custGeom>
          <a:solidFill>
            <a:srgbClr val="D3D3D3"/>
          </a:solidFill>
          <a:ln w="22225" cap="flat">
            <a:solidFill>
              <a:srgbClr val="D3D3D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510" name="Freeform 48"/>
          <p:cNvSpPr>
            <a:spLocks/>
          </p:cNvSpPr>
          <p:nvPr userDrawn="1"/>
        </p:nvSpPr>
        <p:spPr bwMode="grayWhite">
          <a:xfrm>
            <a:off x="3893506" y="-4724511"/>
            <a:ext cx="946151" cy="1576388"/>
          </a:xfrm>
          <a:custGeom>
            <a:avLst/>
            <a:gdLst>
              <a:gd name="T0" fmla="*/ 322 w 658"/>
              <a:gd name="T1" fmla="*/ 1044 h 1097"/>
              <a:gd name="T2" fmla="*/ 264 w 658"/>
              <a:gd name="T3" fmla="*/ 1050 h 1097"/>
              <a:gd name="T4" fmla="*/ 224 w 658"/>
              <a:gd name="T5" fmla="*/ 1048 h 1097"/>
              <a:gd name="T6" fmla="*/ 73 w 658"/>
              <a:gd name="T7" fmla="*/ 1054 h 1097"/>
              <a:gd name="T8" fmla="*/ 110 w 658"/>
              <a:gd name="T9" fmla="*/ 949 h 1097"/>
              <a:gd name="T10" fmla="*/ 130 w 658"/>
              <a:gd name="T11" fmla="*/ 849 h 1097"/>
              <a:gd name="T12" fmla="*/ 208 w 658"/>
              <a:gd name="T13" fmla="*/ 913 h 1097"/>
              <a:gd name="T14" fmla="*/ 182 w 658"/>
              <a:gd name="T15" fmla="*/ 835 h 1097"/>
              <a:gd name="T16" fmla="*/ 120 w 658"/>
              <a:gd name="T17" fmla="*/ 794 h 1097"/>
              <a:gd name="T18" fmla="*/ 170 w 658"/>
              <a:gd name="T19" fmla="*/ 708 h 1097"/>
              <a:gd name="T20" fmla="*/ 255 w 658"/>
              <a:gd name="T21" fmla="*/ 720 h 1097"/>
              <a:gd name="T22" fmla="*/ 243 w 658"/>
              <a:gd name="T23" fmla="*/ 699 h 1097"/>
              <a:gd name="T24" fmla="*/ 156 w 658"/>
              <a:gd name="T25" fmla="*/ 580 h 1097"/>
              <a:gd name="T26" fmla="*/ 169 w 658"/>
              <a:gd name="T27" fmla="*/ 487 h 1097"/>
              <a:gd name="T28" fmla="*/ 239 w 658"/>
              <a:gd name="T29" fmla="*/ 520 h 1097"/>
              <a:gd name="T30" fmla="*/ 297 w 658"/>
              <a:gd name="T31" fmla="*/ 445 h 1097"/>
              <a:gd name="T32" fmla="*/ 337 w 658"/>
              <a:gd name="T33" fmla="*/ 396 h 1097"/>
              <a:gd name="T34" fmla="*/ 307 w 658"/>
              <a:gd name="T35" fmla="*/ 377 h 1097"/>
              <a:gd name="T36" fmla="*/ 145 w 658"/>
              <a:gd name="T37" fmla="*/ 432 h 1097"/>
              <a:gd name="T38" fmla="*/ 136 w 658"/>
              <a:gd name="T39" fmla="*/ 411 h 1097"/>
              <a:gd name="T40" fmla="*/ 68 w 658"/>
              <a:gd name="T41" fmla="*/ 391 h 1097"/>
              <a:gd name="T42" fmla="*/ 40 w 658"/>
              <a:gd name="T43" fmla="*/ 357 h 1097"/>
              <a:gd name="T44" fmla="*/ 52 w 658"/>
              <a:gd name="T45" fmla="*/ 301 h 1097"/>
              <a:gd name="T46" fmla="*/ 77 w 658"/>
              <a:gd name="T47" fmla="*/ 220 h 1097"/>
              <a:gd name="T48" fmla="*/ 132 w 658"/>
              <a:gd name="T49" fmla="*/ 175 h 1097"/>
              <a:gd name="T50" fmla="*/ 175 w 658"/>
              <a:gd name="T51" fmla="*/ 144 h 1097"/>
              <a:gd name="T52" fmla="*/ 226 w 658"/>
              <a:gd name="T53" fmla="*/ 115 h 1097"/>
              <a:gd name="T54" fmla="*/ 282 w 658"/>
              <a:gd name="T55" fmla="*/ 50 h 1097"/>
              <a:gd name="T56" fmla="*/ 391 w 658"/>
              <a:gd name="T57" fmla="*/ 18 h 1097"/>
              <a:gd name="T58" fmla="*/ 517 w 658"/>
              <a:gd name="T59" fmla="*/ 3 h 1097"/>
              <a:gd name="T60" fmla="*/ 626 w 658"/>
              <a:gd name="T61" fmla="*/ 42 h 1097"/>
              <a:gd name="T62" fmla="*/ 628 w 658"/>
              <a:gd name="T63" fmla="*/ 186 h 1097"/>
              <a:gd name="T64" fmla="*/ 560 w 658"/>
              <a:gd name="T65" fmla="*/ 267 h 1097"/>
              <a:gd name="T66" fmla="*/ 612 w 658"/>
              <a:gd name="T67" fmla="*/ 216 h 1097"/>
              <a:gd name="T68" fmla="*/ 627 w 658"/>
              <a:gd name="T69" fmla="*/ 280 h 1097"/>
              <a:gd name="T70" fmla="*/ 561 w 658"/>
              <a:gd name="T71" fmla="*/ 433 h 1097"/>
              <a:gd name="T72" fmla="*/ 492 w 658"/>
              <a:gd name="T73" fmla="*/ 560 h 1097"/>
              <a:gd name="T74" fmla="*/ 426 w 658"/>
              <a:gd name="T75" fmla="*/ 609 h 1097"/>
              <a:gd name="T76" fmla="*/ 429 w 658"/>
              <a:gd name="T77" fmla="*/ 665 h 1097"/>
              <a:gd name="T78" fmla="*/ 469 w 658"/>
              <a:gd name="T79" fmla="*/ 681 h 1097"/>
              <a:gd name="T80" fmla="*/ 484 w 658"/>
              <a:gd name="T81" fmla="*/ 769 h 1097"/>
              <a:gd name="T82" fmla="*/ 428 w 658"/>
              <a:gd name="T83" fmla="*/ 833 h 1097"/>
              <a:gd name="T84" fmla="*/ 407 w 658"/>
              <a:gd name="T85" fmla="*/ 905 h 1097"/>
              <a:gd name="T86" fmla="*/ 427 w 658"/>
              <a:gd name="T87" fmla="*/ 972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8" h="1097">
                <a:moveTo>
                  <a:pt x="338" y="1073"/>
                </a:moveTo>
                <a:cubicBezTo>
                  <a:pt x="337" y="1068"/>
                  <a:pt x="337" y="1063"/>
                  <a:pt x="338" y="1061"/>
                </a:cubicBezTo>
                <a:cubicBezTo>
                  <a:pt x="341" y="1056"/>
                  <a:pt x="335" y="1050"/>
                  <a:pt x="322" y="1044"/>
                </a:cubicBezTo>
                <a:cubicBezTo>
                  <a:pt x="311" y="1038"/>
                  <a:pt x="310" y="1038"/>
                  <a:pt x="301" y="1047"/>
                </a:cubicBezTo>
                <a:cubicBezTo>
                  <a:pt x="294" y="1055"/>
                  <a:pt x="289" y="1057"/>
                  <a:pt x="283" y="1055"/>
                </a:cubicBezTo>
                <a:cubicBezTo>
                  <a:pt x="278" y="1053"/>
                  <a:pt x="270" y="1051"/>
                  <a:pt x="264" y="1050"/>
                </a:cubicBezTo>
                <a:cubicBezTo>
                  <a:pt x="259" y="1049"/>
                  <a:pt x="250" y="1043"/>
                  <a:pt x="245" y="1037"/>
                </a:cubicBezTo>
                <a:cubicBezTo>
                  <a:pt x="238" y="1029"/>
                  <a:pt x="236" y="1028"/>
                  <a:pt x="230" y="1032"/>
                </a:cubicBezTo>
                <a:cubicBezTo>
                  <a:pt x="227" y="1035"/>
                  <a:pt x="224" y="1042"/>
                  <a:pt x="224" y="1048"/>
                </a:cubicBezTo>
                <a:cubicBezTo>
                  <a:pt x="224" y="1062"/>
                  <a:pt x="211" y="1070"/>
                  <a:pt x="195" y="1066"/>
                </a:cubicBezTo>
                <a:cubicBezTo>
                  <a:pt x="189" y="1065"/>
                  <a:pt x="161" y="1063"/>
                  <a:pt x="134" y="1063"/>
                </a:cubicBezTo>
                <a:cubicBezTo>
                  <a:pt x="91" y="1063"/>
                  <a:pt x="83" y="1061"/>
                  <a:pt x="73" y="1054"/>
                </a:cubicBezTo>
                <a:cubicBezTo>
                  <a:pt x="64" y="1047"/>
                  <a:pt x="62" y="1043"/>
                  <a:pt x="61" y="1023"/>
                </a:cubicBezTo>
                <a:cubicBezTo>
                  <a:pt x="60" y="1009"/>
                  <a:pt x="62" y="997"/>
                  <a:pt x="66" y="989"/>
                </a:cubicBezTo>
                <a:cubicBezTo>
                  <a:pt x="76" y="970"/>
                  <a:pt x="99" y="949"/>
                  <a:pt x="110" y="949"/>
                </a:cubicBezTo>
                <a:cubicBezTo>
                  <a:pt x="127" y="949"/>
                  <a:pt x="129" y="939"/>
                  <a:pt x="116" y="926"/>
                </a:cubicBezTo>
                <a:cubicBezTo>
                  <a:pt x="93" y="905"/>
                  <a:pt x="87" y="882"/>
                  <a:pt x="97" y="863"/>
                </a:cubicBezTo>
                <a:cubicBezTo>
                  <a:pt x="103" y="851"/>
                  <a:pt x="108" y="849"/>
                  <a:pt x="130" y="849"/>
                </a:cubicBezTo>
                <a:cubicBezTo>
                  <a:pt x="154" y="849"/>
                  <a:pt x="171" y="860"/>
                  <a:pt x="177" y="883"/>
                </a:cubicBezTo>
                <a:cubicBezTo>
                  <a:pt x="179" y="891"/>
                  <a:pt x="185" y="902"/>
                  <a:pt x="190" y="907"/>
                </a:cubicBezTo>
                <a:cubicBezTo>
                  <a:pt x="198" y="915"/>
                  <a:pt x="202" y="916"/>
                  <a:pt x="208" y="913"/>
                </a:cubicBezTo>
                <a:cubicBezTo>
                  <a:pt x="216" y="908"/>
                  <a:pt x="215" y="907"/>
                  <a:pt x="198" y="890"/>
                </a:cubicBezTo>
                <a:cubicBezTo>
                  <a:pt x="189" y="880"/>
                  <a:pt x="179" y="866"/>
                  <a:pt x="176" y="860"/>
                </a:cubicBezTo>
                <a:cubicBezTo>
                  <a:pt x="172" y="850"/>
                  <a:pt x="172" y="847"/>
                  <a:pt x="182" y="835"/>
                </a:cubicBezTo>
                <a:cubicBezTo>
                  <a:pt x="193" y="821"/>
                  <a:pt x="193" y="821"/>
                  <a:pt x="193" y="821"/>
                </a:cubicBezTo>
                <a:cubicBezTo>
                  <a:pt x="165" y="821"/>
                  <a:pt x="165" y="821"/>
                  <a:pt x="165" y="821"/>
                </a:cubicBezTo>
                <a:cubicBezTo>
                  <a:pt x="131" y="821"/>
                  <a:pt x="120" y="814"/>
                  <a:pt x="120" y="794"/>
                </a:cubicBezTo>
                <a:cubicBezTo>
                  <a:pt x="120" y="787"/>
                  <a:pt x="124" y="773"/>
                  <a:pt x="128" y="764"/>
                </a:cubicBezTo>
                <a:cubicBezTo>
                  <a:pt x="133" y="755"/>
                  <a:pt x="136" y="747"/>
                  <a:pt x="135" y="746"/>
                </a:cubicBezTo>
                <a:cubicBezTo>
                  <a:pt x="128" y="739"/>
                  <a:pt x="146" y="721"/>
                  <a:pt x="170" y="708"/>
                </a:cubicBezTo>
                <a:cubicBezTo>
                  <a:pt x="197" y="695"/>
                  <a:pt x="197" y="695"/>
                  <a:pt x="197" y="695"/>
                </a:cubicBezTo>
                <a:cubicBezTo>
                  <a:pt x="223" y="709"/>
                  <a:pt x="223" y="709"/>
                  <a:pt x="223" y="709"/>
                </a:cubicBezTo>
                <a:cubicBezTo>
                  <a:pt x="257" y="726"/>
                  <a:pt x="255" y="726"/>
                  <a:pt x="255" y="720"/>
                </a:cubicBezTo>
                <a:cubicBezTo>
                  <a:pt x="255" y="717"/>
                  <a:pt x="256" y="711"/>
                  <a:pt x="258" y="708"/>
                </a:cubicBezTo>
                <a:cubicBezTo>
                  <a:pt x="260" y="704"/>
                  <a:pt x="259" y="700"/>
                  <a:pt x="258" y="700"/>
                </a:cubicBezTo>
                <a:cubicBezTo>
                  <a:pt x="256" y="700"/>
                  <a:pt x="249" y="699"/>
                  <a:pt x="243" y="699"/>
                </a:cubicBezTo>
                <a:cubicBezTo>
                  <a:pt x="226" y="697"/>
                  <a:pt x="199" y="667"/>
                  <a:pt x="190" y="640"/>
                </a:cubicBezTo>
                <a:cubicBezTo>
                  <a:pt x="186" y="628"/>
                  <a:pt x="177" y="611"/>
                  <a:pt x="170" y="601"/>
                </a:cubicBezTo>
                <a:cubicBezTo>
                  <a:pt x="162" y="591"/>
                  <a:pt x="156" y="582"/>
                  <a:pt x="156" y="580"/>
                </a:cubicBezTo>
                <a:cubicBezTo>
                  <a:pt x="156" y="579"/>
                  <a:pt x="153" y="576"/>
                  <a:pt x="148" y="575"/>
                </a:cubicBezTo>
                <a:cubicBezTo>
                  <a:pt x="137" y="571"/>
                  <a:pt x="133" y="553"/>
                  <a:pt x="136" y="524"/>
                </a:cubicBezTo>
                <a:cubicBezTo>
                  <a:pt x="139" y="489"/>
                  <a:pt x="143" y="484"/>
                  <a:pt x="169" y="487"/>
                </a:cubicBezTo>
                <a:cubicBezTo>
                  <a:pt x="196" y="489"/>
                  <a:pt x="203" y="494"/>
                  <a:pt x="232" y="533"/>
                </a:cubicBezTo>
                <a:cubicBezTo>
                  <a:pt x="246" y="551"/>
                  <a:pt x="257" y="565"/>
                  <a:pt x="258" y="564"/>
                </a:cubicBezTo>
                <a:cubicBezTo>
                  <a:pt x="263" y="559"/>
                  <a:pt x="252" y="535"/>
                  <a:pt x="239" y="520"/>
                </a:cubicBezTo>
                <a:cubicBezTo>
                  <a:pt x="219" y="498"/>
                  <a:pt x="220" y="486"/>
                  <a:pt x="242" y="474"/>
                </a:cubicBezTo>
                <a:cubicBezTo>
                  <a:pt x="251" y="470"/>
                  <a:pt x="265" y="461"/>
                  <a:pt x="274" y="455"/>
                </a:cubicBezTo>
                <a:cubicBezTo>
                  <a:pt x="283" y="449"/>
                  <a:pt x="293" y="445"/>
                  <a:pt x="297" y="445"/>
                </a:cubicBezTo>
                <a:cubicBezTo>
                  <a:pt x="302" y="445"/>
                  <a:pt x="304" y="442"/>
                  <a:pt x="304" y="436"/>
                </a:cubicBezTo>
                <a:cubicBezTo>
                  <a:pt x="304" y="432"/>
                  <a:pt x="311" y="421"/>
                  <a:pt x="320" y="412"/>
                </a:cubicBezTo>
                <a:cubicBezTo>
                  <a:pt x="337" y="396"/>
                  <a:pt x="337" y="396"/>
                  <a:pt x="337" y="396"/>
                </a:cubicBezTo>
                <a:cubicBezTo>
                  <a:pt x="326" y="384"/>
                  <a:pt x="326" y="384"/>
                  <a:pt x="326" y="384"/>
                </a:cubicBezTo>
                <a:cubicBezTo>
                  <a:pt x="321" y="377"/>
                  <a:pt x="316" y="369"/>
                  <a:pt x="316" y="365"/>
                </a:cubicBezTo>
                <a:cubicBezTo>
                  <a:pt x="316" y="362"/>
                  <a:pt x="312" y="367"/>
                  <a:pt x="307" y="377"/>
                </a:cubicBezTo>
                <a:cubicBezTo>
                  <a:pt x="282" y="425"/>
                  <a:pt x="263" y="442"/>
                  <a:pt x="233" y="443"/>
                </a:cubicBezTo>
                <a:cubicBezTo>
                  <a:pt x="223" y="443"/>
                  <a:pt x="204" y="446"/>
                  <a:pt x="191" y="449"/>
                </a:cubicBezTo>
                <a:cubicBezTo>
                  <a:pt x="159" y="456"/>
                  <a:pt x="147" y="452"/>
                  <a:pt x="145" y="432"/>
                </a:cubicBezTo>
                <a:cubicBezTo>
                  <a:pt x="144" y="424"/>
                  <a:pt x="146" y="411"/>
                  <a:pt x="150" y="403"/>
                </a:cubicBezTo>
                <a:cubicBezTo>
                  <a:pt x="153" y="395"/>
                  <a:pt x="155" y="389"/>
                  <a:pt x="153" y="389"/>
                </a:cubicBezTo>
                <a:cubicBezTo>
                  <a:pt x="149" y="389"/>
                  <a:pt x="136" y="406"/>
                  <a:pt x="136" y="411"/>
                </a:cubicBezTo>
                <a:cubicBezTo>
                  <a:pt x="136" y="414"/>
                  <a:pt x="132" y="421"/>
                  <a:pt x="126" y="426"/>
                </a:cubicBezTo>
                <a:cubicBezTo>
                  <a:pt x="118" y="434"/>
                  <a:pt x="113" y="435"/>
                  <a:pt x="104" y="433"/>
                </a:cubicBezTo>
                <a:cubicBezTo>
                  <a:pt x="78" y="425"/>
                  <a:pt x="58" y="403"/>
                  <a:pt x="68" y="391"/>
                </a:cubicBezTo>
                <a:cubicBezTo>
                  <a:pt x="72" y="386"/>
                  <a:pt x="72" y="385"/>
                  <a:pt x="65" y="385"/>
                </a:cubicBezTo>
                <a:cubicBezTo>
                  <a:pt x="60" y="385"/>
                  <a:pt x="55" y="384"/>
                  <a:pt x="53" y="384"/>
                </a:cubicBezTo>
                <a:cubicBezTo>
                  <a:pt x="47" y="383"/>
                  <a:pt x="40" y="370"/>
                  <a:pt x="40" y="357"/>
                </a:cubicBezTo>
                <a:cubicBezTo>
                  <a:pt x="40" y="346"/>
                  <a:pt x="43" y="341"/>
                  <a:pt x="56" y="329"/>
                </a:cubicBezTo>
                <a:cubicBezTo>
                  <a:pt x="73" y="313"/>
                  <a:pt x="76" y="309"/>
                  <a:pt x="66" y="309"/>
                </a:cubicBezTo>
                <a:cubicBezTo>
                  <a:pt x="63" y="309"/>
                  <a:pt x="57" y="305"/>
                  <a:pt x="52" y="301"/>
                </a:cubicBezTo>
                <a:cubicBezTo>
                  <a:pt x="48" y="296"/>
                  <a:pt x="40" y="293"/>
                  <a:pt x="35" y="293"/>
                </a:cubicBezTo>
                <a:cubicBezTo>
                  <a:pt x="0" y="293"/>
                  <a:pt x="10" y="255"/>
                  <a:pt x="48" y="240"/>
                </a:cubicBezTo>
                <a:cubicBezTo>
                  <a:pt x="56" y="237"/>
                  <a:pt x="69" y="228"/>
                  <a:pt x="77" y="220"/>
                </a:cubicBezTo>
                <a:cubicBezTo>
                  <a:pt x="89" y="207"/>
                  <a:pt x="94" y="205"/>
                  <a:pt x="108" y="205"/>
                </a:cubicBezTo>
                <a:cubicBezTo>
                  <a:pt x="124" y="205"/>
                  <a:pt x="125" y="204"/>
                  <a:pt x="123" y="195"/>
                </a:cubicBezTo>
                <a:cubicBezTo>
                  <a:pt x="121" y="187"/>
                  <a:pt x="123" y="183"/>
                  <a:pt x="132" y="175"/>
                </a:cubicBezTo>
                <a:cubicBezTo>
                  <a:pt x="139" y="170"/>
                  <a:pt x="144" y="162"/>
                  <a:pt x="144" y="157"/>
                </a:cubicBezTo>
                <a:cubicBezTo>
                  <a:pt x="144" y="147"/>
                  <a:pt x="152" y="141"/>
                  <a:pt x="162" y="142"/>
                </a:cubicBezTo>
                <a:cubicBezTo>
                  <a:pt x="167" y="143"/>
                  <a:pt x="172" y="144"/>
                  <a:pt x="175" y="144"/>
                </a:cubicBezTo>
                <a:cubicBezTo>
                  <a:pt x="177" y="144"/>
                  <a:pt x="185" y="149"/>
                  <a:pt x="193" y="154"/>
                </a:cubicBezTo>
                <a:cubicBezTo>
                  <a:pt x="209" y="165"/>
                  <a:pt x="212" y="163"/>
                  <a:pt x="212" y="143"/>
                </a:cubicBezTo>
                <a:cubicBezTo>
                  <a:pt x="212" y="138"/>
                  <a:pt x="218" y="126"/>
                  <a:pt x="226" y="115"/>
                </a:cubicBezTo>
                <a:cubicBezTo>
                  <a:pt x="234" y="104"/>
                  <a:pt x="240" y="92"/>
                  <a:pt x="240" y="88"/>
                </a:cubicBezTo>
                <a:cubicBezTo>
                  <a:pt x="240" y="84"/>
                  <a:pt x="247" y="73"/>
                  <a:pt x="256" y="64"/>
                </a:cubicBezTo>
                <a:cubicBezTo>
                  <a:pt x="269" y="51"/>
                  <a:pt x="274" y="48"/>
                  <a:pt x="282" y="50"/>
                </a:cubicBezTo>
                <a:cubicBezTo>
                  <a:pt x="291" y="51"/>
                  <a:pt x="294" y="50"/>
                  <a:pt x="297" y="40"/>
                </a:cubicBezTo>
                <a:cubicBezTo>
                  <a:pt x="301" y="28"/>
                  <a:pt x="318" y="20"/>
                  <a:pt x="333" y="23"/>
                </a:cubicBezTo>
                <a:cubicBezTo>
                  <a:pt x="363" y="28"/>
                  <a:pt x="373" y="27"/>
                  <a:pt x="391" y="18"/>
                </a:cubicBezTo>
                <a:cubicBezTo>
                  <a:pt x="411" y="7"/>
                  <a:pt x="441" y="3"/>
                  <a:pt x="454" y="9"/>
                </a:cubicBezTo>
                <a:cubicBezTo>
                  <a:pt x="459" y="12"/>
                  <a:pt x="468" y="11"/>
                  <a:pt x="485" y="6"/>
                </a:cubicBezTo>
                <a:cubicBezTo>
                  <a:pt x="502" y="1"/>
                  <a:pt x="511" y="0"/>
                  <a:pt x="517" y="3"/>
                </a:cubicBezTo>
                <a:cubicBezTo>
                  <a:pt x="522" y="5"/>
                  <a:pt x="536" y="7"/>
                  <a:pt x="548" y="6"/>
                </a:cubicBezTo>
                <a:cubicBezTo>
                  <a:pt x="578" y="4"/>
                  <a:pt x="585" y="6"/>
                  <a:pt x="591" y="20"/>
                </a:cubicBezTo>
                <a:cubicBezTo>
                  <a:pt x="597" y="32"/>
                  <a:pt x="607" y="39"/>
                  <a:pt x="626" y="42"/>
                </a:cubicBezTo>
                <a:cubicBezTo>
                  <a:pt x="641" y="45"/>
                  <a:pt x="648" y="52"/>
                  <a:pt x="652" y="71"/>
                </a:cubicBezTo>
                <a:cubicBezTo>
                  <a:pt x="658" y="95"/>
                  <a:pt x="657" y="116"/>
                  <a:pt x="648" y="147"/>
                </a:cubicBezTo>
                <a:cubicBezTo>
                  <a:pt x="642" y="168"/>
                  <a:pt x="638" y="177"/>
                  <a:pt x="628" y="186"/>
                </a:cubicBezTo>
                <a:cubicBezTo>
                  <a:pt x="620" y="192"/>
                  <a:pt x="612" y="197"/>
                  <a:pt x="610" y="197"/>
                </a:cubicBezTo>
                <a:cubicBezTo>
                  <a:pt x="602" y="197"/>
                  <a:pt x="582" y="222"/>
                  <a:pt x="570" y="245"/>
                </a:cubicBezTo>
                <a:cubicBezTo>
                  <a:pt x="565" y="256"/>
                  <a:pt x="560" y="266"/>
                  <a:pt x="560" y="267"/>
                </a:cubicBezTo>
                <a:cubicBezTo>
                  <a:pt x="560" y="272"/>
                  <a:pt x="580" y="253"/>
                  <a:pt x="584" y="245"/>
                </a:cubicBezTo>
                <a:cubicBezTo>
                  <a:pt x="586" y="239"/>
                  <a:pt x="594" y="231"/>
                  <a:pt x="600" y="227"/>
                </a:cubicBezTo>
                <a:cubicBezTo>
                  <a:pt x="607" y="222"/>
                  <a:pt x="612" y="217"/>
                  <a:pt x="612" y="216"/>
                </a:cubicBezTo>
                <a:cubicBezTo>
                  <a:pt x="612" y="211"/>
                  <a:pt x="631" y="212"/>
                  <a:pt x="634" y="217"/>
                </a:cubicBezTo>
                <a:cubicBezTo>
                  <a:pt x="636" y="219"/>
                  <a:pt x="637" y="231"/>
                  <a:pt x="637" y="243"/>
                </a:cubicBezTo>
                <a:cubicBezTo>
                  <a:pt x="637" y="260"/>
                  <a:pt x="634" y="269"/>
                  <a:pt x="627" y="280"/>
                </a:cubicBezTo>
                <a:cubicBezTo>
                  <a:pt x="612" y="303"/>
                  <a:pt x="599" y="329"/>
                  <a:pt x="601" y="334"/>
                </a:cubicBezTo>
                <a:cubicBezTo>
                  <a:pt x="602" y="336"/>
                  <a:pt x="594" y="357"/>
                  <a:pt x="584" y="380"/>
                </a:cubicBezTo>
                <a:cubicBezTo>
                  <a:pt x="574" y="404"/>
                  <a:pt x="563" y="427"/>
                  <a:pt x="561" y="433"/>
                </a:cubicBezTo>
                <a:cubicBezTo>
                  <a:pt x="556" y="445"/>
                  <a:pt x="547" y="489"/>
                  <a:pt x="546" y="511"/>
                </a:cubicBezTo>
                <a:cubicBezTo>
                  <a:pt x="544" y="532"/>
                  <a:pt x="525" y="550"/>
                  <a:pt x="507" y="548"/>
                </a:cubicBezTo>
                <a:cubicBezTo>
                  <a:pt x="496" y="547"/>
                  <a:pt x="494" y="548"/>
                  <a:pt x="492" y="560"/>
                </a:cubicBezTo>
                <a:cubicBezTo>
                  <a:pt x="490" y="567"/>
                  <a:pt x="485" y="577"/>
                  <a:pt x="480" y="583"/>
                </a:cubicBezTo>
                <a:cubicBezTo>
                  <a:pt x="472" y="592"/>
                  <a:pt x="439" y="606"/>
                  <a:pt x="435" y="602"/>
                </a:cubicBezTo>
                <a:cubicBezTo>
                  <a:pt x="434" y="601"/>
                  <a:pt x="430" y="604"/>
                  <a:pt x="426" y="609"/>
                </a:cubicBezTo>
                <a:cubicBezTo>
                  <a:pt x="418" y="617"/>
                  <a:pt x="418" y="618"/>
                  <a:pt x="427" y="624"/>
                </a:cubicBezTo>
                <a:cubicBezTo>
                  <a:pt x="438" y="631"/>
                  <a:pt x="439" y="647"/>
                  <a:pt x="430" y="657"/>
                </a:cubicBezTo>
                <a:cubicBezTo>
                  <a:pt x="424" y="663"/>
                  <a:pt x="424" y="665"/>
                  <a:pt x="429" y="665"/>
                </a:cubicBezTo>
                <a:cubicBezTo>
                  <a:pt x="432" y="665"/>
                  <a:pt x="436" y="666"/>
                  <a:pt x="438" y="666"/>
                </a:cubicBezTo>
                <a:cubicBezTo>
                  <a:pt x="440" y="667"/>
                  <a:pt x="445" y="668"/>
                  <a:pt x="450" y="668"/>
                </a:cubicBezTo>
                <a:cubicBezTo>
                  <a:pt x="454" y="668"/>
                  <a:pt x="462" y="674"/>
                  <a:pt x="469" y="681"/>
                </a:cubicBezTo>
                <a:cubicBezTo>
                  <a:pt x="483" y="697"/>
                  <a:pt x="485" y="725"/>
                  <a:pt x="472" y="733"/>
                </a:cubicBezTo>
                <a:cubicBezTo>
                  <a:pt x="462" y="740"/>
                  <a:pt x="462" y="744"/>
                  <a:pt x="474" y="753"/>
                </a:cubicBezTo>
                <a:cubicBezTo>
                  <a:pt x="480" y="758"/>
                  <a:pt x="484" y="765"/>
                  <a:pt x="484" y="769"/>
                </a:cubicBezTo>
                <a:cubicBezTo>
                  <a:pt x="484" y="774"/>
                  <a:pt x="480" y="777"/>
                  <a:pt x="474" y="779"/>
                </a:cubicBezTo>
                <a:cubicBezTo>
                  <a:pt x="466" y="781"/>
                  <a:pt x="464" y="784"/>
                  <a:pt x="464" y="794"/>
                </a:cubicBezTo>
                <a:cubicBezTo>
                  <a:pt x="464" y="812"/>
                  <a:pt x="446" y="832"/>
                  <a:pt x="428" y="833"/>
                </a:cubicBezTo>
                <a:cubicBezTo>
                  <a:pt x="414" y="835"/>
                  <a:pt x="414" y="835"/>
                  <a:pt x="414" y="835"/>
                </a:cubicBezTo>
                <a:cubicBezTo>
                  <a:pt x="415" y="865"/>
                  <a:pt x="415" y="865"/>
                  <a:pt x="415" y="865"/>
                </a:cubicBezTo>
                <a:cubicBezTo>
                  <a:pt x="417" y="892"/>
                  <a:pt x="416" y="896"/>
                  <a:pt x="407" y="905"/>
                </a:cubicBezTo>
                <a:cubicBezTo>
                  <a:pt x="383" y="931"/>
                  <a:pt x="383" y="931"/>
                  <a:pt x="390" y="942"/>
                </a:cubicBezTo>
                <a:cubicBezTo>
                  <a:pt x="394" y="948"/>
                  <a:pt x="403" y="956"/>
                  <a:pt x="410" y="959"/>
                </a:cubicBezTo>
                <a:cubicBezTo>
                  <a:pt x="417" y="963"/>
                  <a:pt x="424" y="969"/>
                  <a:pt x="427" y="972"/>
                </a:cubicBezTo>
                <a:cubicBezTo>
                  <a:pt x="433" y="980"/>
                  <a:pt x="430" y="1001"/>
                  <a:pt x="421" y="1021"/>
                </a:cubicBezTo>
                <a:cubicBezTo>
                  <a:pt x="403" y="1061"/>
                  <a:pt x="346" y="1097"/>
                  <a:pt x="338" y="1073"/>
                </a:cubicBezTo>
                <a:close/>
              </a:path>
            </a:pathLst>
          </a:custGeom>
          <a:solidFill>
            <a:srgbClr val="D3D3D3"/>
          </a:solidFill>
          <a:ln w="22225" cap="flat">
            <a:solidFill>
              <a:srgbClr val="D3D3D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511" name="Freeform 49"/>
          <p:cNvSpPr>
            <a:spLocks/>
          </p:cNvSpPr>
          <p:nvPr userDrawn="1"/>
        </p:nvSpPr>
        <p:spPr bwMode="grayWhite">
          <a:xfrm>
            <a:off x="3285495" y="-3492611"/>
            <a:ext cx="68263" cy="107951"/>
          </a:xfrm>
          <a:custGeom>
            <a:avLst/>
            <a:gdLst>
              <a:gd name="T0" fmla="*/ 13 w 47"/>
              <a:gd name="T1" fmla="*/ 66 h 75"/>
              <a:gd name="T2" fmla="*/ 8 w 47"/>
              <a:gd name="T3" fmla="*/ 16 h 75"/>
              <a:gd name="T4" fmla="*/ 31 w 47"/>
              <a:gd name="T5" fmla="*/ 15 h 75"/>
              <a:gd name="T6" fmla="*/ 31 w 47"/>
              <a:gd name="T7" fmla="*/ 72 h 75"/>
              <a:gd name="T8" fmla="*/ 13 w 47"/>
              <a:gd name="T9" fmla="*/ 66 h 75"/>
            </a:gdLst>
            <a:ahLst/>
            <a:cxnLst>
              <a:cxn ang="0">
                <a:pos x="T0" y="T1"/>
              </a:cxn>
              <a:cxn ang="0">
                <a:pos x="T2" y="T3"/>
              </a:cxn>
              <a:cxn ang="0">
                <a:pos x="T4" y="T5"/>
              </a:cxn>
              <a:cxn ang="0">
                <a:pos x="T6" y="T7"/>
              </a:cxn>
              <a:cxn ang="0">
                <a:pos x="T8" y="T9"/>
              </a:cxn>
            </a:cxnLst>
            <a:rect l="0" t="0" r="r" b="b"/>
            <a:pathLst>
              <a:path w="47" h="75">
                <a:moveTo>
                  <a:pt x="13" y="66"/>
                </a:moveTo>
                <a:cubicBezTo>
                  <a:pt x="2" y="55"/>
                  <a:pt x="0" y="37"/>
                  <a:pt x="8" y="16"/>
                </a:cubicBezTo>
                <a:cubicBezTo>
                  <a:pt x="13" y="1"/>
                  <a:pt x="20" y="0"/>
                  <a:pt x="31" y="15"/>
                </a:cubicBezTo>
                <a:cubicBezTo>
                  <a:pt x="46" y="37"/>
                  <a:pt x="47" y="63"/>
                  <a:pt x="31" y="72"/>
                </a:cubicBezTo>
                <a:cubicBezTo>
                  <a:pt x="25" y="75"/>
                  <a:pt x="21" y="74"/>
                  <a:pt x="13" y="66"/>
                </a:cubicBezTo>
                <a:close/>
              </a:path>
            </a:pathLst>
          </a:custGeom>
          <a:solidFill>
            <a:srgbClr val="D3D3D3"/>
          </a:solidFill>
          <a:ln w="22225" cap="flat">
            <a:solidFill>
              <a:srgbClr val="D3D3D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56" name="Freeform 50"/>
          <p:cNvSpPr>
            <a:spLocks/>
          </p:cNvSpPr>
          <p:nvPr userDrawn="1"/>
        </p:nvSpPr>
        <p:spPr bwMode="grayWhite">
          <a:xfrm>
            <a:off x="3682370" y="-3500549"/>
            <a:ext cx="149225" cy="107951"/>
          </a:xfrm>
          <a:custGeom>
            <a:avLst/>
            <a:gdLst>
              <a:gd name="T0" fmla="*/ 32 w 104"/>
              <a:gd name="T1" fmla="*/ 65 h 75"/>
              <a:gd name="T2" fmla="*/ 22 w 104"/>
              <a:gd name="T3" fmla="*/ 17 h 75"/>
              <a:gd name="T4" fmla="*/ 81 w 104"/>
              <a:gd name="T5" fmla="*/ 13 h 75"/>
              <a:gd name="T6" fmla="*/ 82 w 104"/>
              <a:gd name="T7" fmla="*/ 62 h 75"/>
              <a:gd name="T8" fmla="*/ 32 w 104"/>
              <a:gd name="T9" fmla="*/ 65 h 75"/>
            </a:gdLst>
            <a:ahLst/>
            <a:cxnLst>
              <a:cxn ang="0">
                <a:pos x="T0" y="T1"/>
              </a:cxn>
              <a:cxn ang="0">
                <a:pos x="T2" y="T3"/>
              </a:cxn>
              <a:cxn ang="0">
                <a:pos x="T4" y="T5"/>
              </a:cxn>
              <a:cxn ang="0">
                <a:pos x="T6" y="T7"/>
              </a:cxn>
              <a:cxn ang="0">
                <a:pos x="T8" y="T9"/>
              </a:cxn>
            </a:cxnLst>
            <a:rect l="0" t="0" r="r" b="b"/>
            <a:pathLst>
              <a:path w="104" h="75">
                <a:moveTo>
                  <a:pt x="32" y="65"/>
                </a:moveTo>
                <a:cubicBezTo>
                  <a:pt x="3" y="51"/>
                  <a:pt x="0" y="36"/>
                  <a:pt x="22" y="17"/>
                </a:cubicBezTo>
                <a:cubicBezTo>
                  <a:pt x="39" y="2"/>
                  <a:pt x="61" y="0"/>
                  <a:pt x="81" y="13"/>
                </a:cubicBezTo>
                <a:cubicBezTo>
                  <a:pt x="104" y="27"/>
                  <a:pt x="104" y="44"/>
                  <a:pt x="82" y="62"/>
                </a:cubicBezTo>
                <a:cubicBezTo>
                  <a:pt x="69" y="74"/>
                  <a:pt x="50" y="75"/>
                  <a:pt x="32" y="65"/>
                </a:cubicBezTo>
                <a:close/>
              </a:path>
            </a:pathLst>
          </a:custGeom>
          <a:solidFill>
            <a:srgbClr val="D3D3D3"/>
          </a:solidFill>
          <a:ln w="22225" cap="flat">
            <a:solidFill>
              <a:srgbClr val="D3D3D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57" name="Freeform 51"/>
          <p:cNvSpPr>
            <a:spLocks/>
          </p:cNvSpPr>
          <p:nvPr userDrawn="1"/>
        </p:nvSpPr>
        <p:spPr bwMode="grayWhite">
          <a:xfrm>
            <a:off x="3617282" y="-3697399"/>
            <a:ext cx="144463" cy="207963"/>
          </a:xfrm>
          <a:custGeom>
            <a:avLst/>
            <a:gdLst>
              <a:gd name="T0" fmla="*/ 43 w 101"/>
              <a:gd name="T1" fmla="*/ 136 h 144"/>
              <a:gd name="T2" fmla="*/ 27 w 101"/>
              <a:gd name="T3" fmla="*/ 107 h 144"/>
              <a:gd name="T4" fmla="*/ 17 w 101"/>
              <a:gd name="T5" fmla="*/ 86 h 144"/>
              <a:gd name="T6" fmla="*/ 2 w 101"/>
              <a:gd name="T7" fmla="*/ 34 h 144"/>
              <a:gd name="T8" fmla="*/ 31 w 101"/>
              <a:gd name="T9" fmla="*/ 4 h 144"/>
              <a:gd name="T10" fmla="*/ 63 w 101"/>
              <a:gd name="T11" fmla="*/ 22 h 144"/>
              <a:gd name="T12" fmla="*/ 89 w 101"/>
              <a:gd name="T13" fmla="*/ 38 h 144"/>
              <a:gd name="T14" fmla="*/ 101 w 101"/>
              <a:gd name="T15" fmla="*/ 86 h 144"/>
              <a:gd name="T16" fmla="*/ 101 w 101"/>
              <a:gd name="T17" fmla="*/ 113 h 144"/>
              <a:gd name="T18" fmla="*/ 83 w 101"/>
              <a:gd name="T19" fmla="*/ 127 h 144"/>
              <a:gd name="T20" fmla="*/ 43 w 101"/>
              <a:gd name="T21" fmla="*/ 13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 h="144">
                <a:moveTo>
                  <a:pt x="43" y="136"/>
                </a:moveTo>
                <a:cubicBezTo>
                  <a:pt x="29" y="130"/>
                  <a:pt x="23" y="118"/>
                  <a:pt x="27" y="107"/>
                </a:cubicBezTo>
                <a:cubicBezTo>
                  <a:pt x="28" y="102"/>
                  <a:pt x="25" y="94"/>
                  <a:pt x="17" y="86"/>
                </a:cubicBezTo>
                <a:cubicBezTo>
                  <a:pt x="2" y="69"/>
                  <a:pt x="0" y="59"/>
                  <a:pt x="2" y="34"/>
                </a:cubicBezTo>
                <a:cubicBezTo>
                  <a:pt x="5" y="13"/>
                  <a:pt x="17" y="0"/>
                  <a:pt x="31" y="4"/>
                </a:cubicBezTo>
                <a:cubicBezTo>
                  <a:pt x="35" y="5"/>
                  <a:pt x="50" y="13"/>
                  <a:pt x="63" y="22"/>
                </a:cubicBezTo>
                <a:cubicBezTo>
                  <a:pt x="76" y="31"/>
                  <a:pt x="88" y="38"/>
                  <a:pt x="89" y="38"/>
                </a:cubicBezTo>
                <a:cubicBezTo>
                  <a:pt x="96" y="38"/>
                  <a:pt x="101" y="60"/>
                  <a:pt x="101" y="86"/>
                </a:cubicBezTo>
                <a:cubicBezTo>
                  <a:pt x="101" y="113"/>
                  <a:pt x="101" y="113"/>
                  <a:pt x="101" y="113"/>
                </a:cubicBezTo>
                <a:cubicBezTo>
                  <a:pt x="83" y="127"/>
                  <a:pt x="83" y="127"/>
                  <a:pt x="83" y="127"/>
                </a:cubicBezTo>
                <a:cubicBezTo>
                  <a:pt x="62" y="143"/>
                  <a:pt x="60" y="144"/>
                  <a:pt x="43" y="136"/>
                </a:cubicBezTo>
                <a:close/>
              </a:path>
            </a:pathLst>
          </a:custGeom>
          <a:solidFill>
            <a:srgbClr val="D3D3D3"/>
          </a:solidFill>
          <a:ln w="22225" cap="flat">
            <a:solidFill>
              <a:srgbClr val="D3D3D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58" name="Freeform 52"/>
          <p:cNvSpPr>
            <a:spLocks/>
          </p:cNvSpPr>
          <p:nvPr userDrawn="1"/>
        </p:nvSpPr>
        <p:spPr bwMode="grayWhite">
          <a:xfrm>
            <a:off x="3347407" y="-3843449"/>
            <a:ext cx="258763" cy="342900"/>
          </a:xfrm>
          <a:custGeom>
            <a:avLst/>
            <a:gdLst>
              <a:gd name="T0" fmla="*/ 143 w 180"/>
              <a:gd name="T1" fmla="*/ 230 h 239"/>
              <a:gd name="T2" fmla="*/ 120 w 180"/>
              <a:gd name="T3" fmla="*/ 205 h 239"/>
              <a:gd name="T4" fmla="*/ 58 w 180"/>
              <a:gd name="T5" fmla="*/ 171 h 239"/>
              <a:gd name="T6" fmla="*/ 24 w 180"/>
              <a:gd name="T7" fmla="*/ 160 h 239"/>
              <a:gd name="T8" fmla="*/ 16 w 180"/>
              <a:gd name="T9" fmla="*/ 119 h 239"/>
              <a:gd name="T10" fmla="*/ 26 w 180"/>
              <a:gd name="T11" fmla="*/ 112 h 239"/>
              <a:gd name="T12" fmla="*/ 40 w 180"/>
              <a:gd name="T13" fmla="*/ 104 h 239"/>
              <a:gd name="T14" fmla="*/ 43 w 180"/>
              <a:gd name="T15" fmla="*/ 81 h 239"/>
              <a:gd name="T16" fmla="*/ 26 w 180"/>
              <a:gd name="T17" fmla="*/ 54 h 239"/>
              <a:gd name="T18" fmla="*/ 44 w 180"/>
              <a:gd name="T19" fmla="*/ 0 h 239"/>
              <a:gd name="T20" fmla="*/ 84 w 180"/>
              <a:gd name="T21" fmla="*/ 28 h 239"/>
              <a:gd name="T22" fmla="*/ 99 w 180"/>
              <a:gd name="T23" fmla="*/ 42 h 239"/>
              <a:gd name="T24" fmla="*/ 136 w 180"/>
              <a:gd name="T25" fmla="*/ 78 h 239"/>
              <a:gd name="T26" fmla="*/ 152 w 180"/>
              <a:gd name="T27" fmla="*/ 103 h 239"/>
              <a:gd name="T28" fmla="*/ 162 w 180"/>
              <a:gd name="T29" fmla="*/ 142 h 239"/>
              <a:gd name="T30" fmla="*/ 168 w 180"/>
              <a:gd name="T31" fmla="*/ 185 h 239"/>
              <a:gd name="T32" fmla="*/ 180 w 180"/>
              <a:gd name="T33" fmla="*/ 205 h 239"/>
              <a:gd name="T34" fmla="*/ 162 w 180"/>
              <a:gd name="T35" fmla="*/ 235 h 239"/>
              <a:gd name="T36" fmla="*/ 143 w 180"/>
              <a:gd name="T37" fmla="*/ 23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0" h="239">
                <a:moveTo>
                  <a:pt x="143" y="230"/>
                </a:moveTo>
                <a:cubicBezTo>
                  <a:pt x="138" y="225"/>
                  <a:pt x="128" y="214"/>
                  <a:pt x="120" y="205"/>
                </a:cubicBezTo>
                <a:cubicBezTo>
                  <a:pt x="95" y="177"/>
                  <a:pt x="83" y="170"/>
                  <a:pt x="58" y="171"/>
                </a:cubicBezTo>
                <a:cubicBezTo>
                  <a:pt x="38" y="172"/>
                  <a:pt x="35" y="171"/>
                  <a:pt x="24" y="160"/>
                </a:cubicBezTo>
                <a:cubicBezTo>
                  <a:pt x="12" y="148"/>
                  <a:pt x="9" y="133"/>
                  <a:pt x="16" y="119"/>
                </a:cubicBezTo>
                <a:cubicBezTo>
                  <a:pt x="19" y="115"/>
                  <a:pt x="23" y="112"/>
                  <a:pt x="26" y="112"/>
                </a:cubicBezTo>
                <a:cubicBezTo>
                  <a:pt x="29" y="112"/>
                  <a:pt x="36" y="108"/>
                  <a:pt x="40" y="104"/>
                </a:cubicBezTo>
                <a:cubicBezTo>
                  <a:pt x="47" y="97"/>
                  <a:pt x="47" y="94"/>
                  <a:pt x="43" y="81"/>
                </a:cubicBezTo>
                <a:cubicBezTo>
                  <a:pt x="41" y="72"/>
                  <a:pt x="34" y="61"/>
                  <a:pt x="26" y="54"/>
                </a:cubicBezTo>
                <a:cubicBezTo>
                  <a:pt x="0" y="33"/>
                  <a:pt x="11" y="0"/>
                  <a:pt x="44" y="0"/>
                </a:cubicBezTo>
                <a:cubicBezTo>
                  <a:pt x="62" y="0"/>
                  <a:pt x="84" y="15"/>
                  <a:pt x="84" y="28"/>
                </a:cubicBezTo>
                <a:cubicBezTo>
                  <a:pt x="84" y="35"/>
                  <a:pt x="90" y="41"/>
                  <a:pt x="99" y="42"/>
                </a:cubicBezTo>
                <a:cubicBezTo>
                  <a:pt x="109" y="44"/>
                  <a:pt x="128" y="62"/>
                  <a:pt x="136" y="78"/>
                </a:cubicBezTo>
                <a:cubicBezTo>
                  <a:pt x="141" y="88"/>
                  <a:pt x="148" y="99"/>
                  <a:pt x="152" y="103"/>
                </a:cubicBezTo>
                <a:cubicBezTo>
                  <a:pt x="166" y="117"/>
                  <a:pt x="168" y="125"/>
                  <a:pt x="162" y="142"/>
                </a:cubicBezTo>
                <a:cubicBezTo>
                  <a:pt x="154" y="164"/>
                  <a:pt x="155" y="170"/>
                  <a:pt x="168" y="185"/>
                </a:cubicBezTo>
                <a:cubicBezTo>
                  <a:pt x="175" y="192"/>
                  <a:pt x="180" y="201"/>
                  <a:pt x="180" y="205"/>
                </a:cubicBezTo>
                <a:cubicBezTo>
                  <a:pt x="180" y="216"/>
                  <a:pt x="171" y="231"/>
                  <a:pt x="162" y="235"/>
                </a:cubicBezTo>
                <a:cubicBezTo>
                  <a:pt x="153" y="239"/>
                  <a:pt x="150" y="238"/>
                  <a:pt x="143" y="230"/>
                </a:cubicBezTo>
                <a:close/>
              </a:path>
            </a:pathLst>
          </a:custGeom>
          <a:solidFill>
            <a:srgbClr val="D3D3D3"/>
          </a:solidFill>
          <a:ln w="22225" cap="flat">
            <a:solidFill>
              <a:srgbClr val="D3D3D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59" name="Freeform 53"/>
          <p:cNvSpPr>
            <a:spLocks/>
          </p:cNvSpPr>
          <p:nvPr userDrawn="1"/>
        </p:nvSpPr>
        <p:spPr bwMode="grayWhite">
          <a:xfrm>
            <a:off x="3718882" y="-4246673"/>
            <a:ext cx="433388" cy="696913"/>
          </a:xfrm>
          <a:custGeom>
            <a:avLst/>
            <a:gdLst>
              <a:gd name="T0" fmla="*/ 114 w 302"/>
              <a:gd name="T1" fmla="*/ 468 h 485"/>
              <a:gd name="T2" fmla="*/ 96 w 302"/>
              <a:gd name="T3" fmla="*/ 444 h 485"/>
              <a:gd name="T4" fmla="*/ 83 w 302"/>
              <a:gd name="T5" fmla="*/ 425 h 485"/>
              <a:gd name="T6" fmla="*/ 54 w 302"/>
              <a:gd name="T7" fmla="*/ 365 h 485"/>
              <a:gd name="T8" fmla="*/ 85 w 302"/>
              <a:gd name="T9" fmla="*/ 333 h 485"/>
              <a:gd name="T10" fmla="*/ 110 w 302"/>
              <a:gd name="T11" fmla="*/ 313 h 485"/>
              <a:gd name="T12" fmla="*/ 84 w 302"/>
              <a:gd name="T13" fmla="*/ 299 h 485"/>
              <a:gd name="T14" fmla="*/ 61 w 302"/>
              <a:gd name="T15" fmla="*/ 302 h 485"/>
              <a:gd name="T16" fmla="*/ 19 w 302"/>
              <a:gd name="T17" fmla="*/ 291 h 485"/>
              <a:gd name="T18" fmla="*/ 21 w 302"/>
              <a:gd name="T19" fmla="*/ 271 h 485"/>
              <a:gd name="T20" fmla="*/ 22 w 302"/>
              <a:gd name="T21" fmla="*/ 261 h 485"/>
              <a:gd name="T22" fmla="*/ 10 w 302"/>
              <a:gd name="T23" fmla="*/ 253 h 485"/>
              <a:gd name="T24" fmla="*/ 7 w 302"/>
              <a:gd name="T25" fmla="*/ 205 h 485"/>
              <a:gd name="T26" fmla="*/ 27 w 302"/>
              <a:gd name="T27" fmla="*/ 193 h 485"/>
              <a:gd name="T28" fmla="*/ 40 w 302"/>
              <a:gd name="T29" fmla="*/ 184 h 485"/>
              <a:gd name="T30" fmla="*/ 25 w 302"/>
              <a:gd name="T31" fmla="*/ 164 h 485"/>
              <a:gd name="T32" fmla="*/ 16 w 302"/>
              <a:gd name="T33" fmla="*/ 141 h 485"/>
              <a:gd name="T34" fmla="*/ 42 w 302"/>
              <a:gd name="T35" fmla="*/ 118 h 485"/>
              <a:gd name="T36" fmla="*/ 48 w 302"/>
              <a:gd name="T37" fmla="*/ 91 h 485"/>
              <a:gd name="T38" fmla="*/ 34 w 302"/>
              <a:gd name="T39" fmla="*/ 76 h 485"/>
              <a:gd name="T40" fmla="*/ 42 w 302"/>
              <a:gd name="T41" fmla="*/ 61 h 485"/>
              <a:gd name="T42" fmla="*/ 62 w 302"/>
              <a:gd name="T43" fmla="*/ 39 h 485"/>
              <a:gd name="T44" fmla="*/ 75 w 302"/>
              <a:gd name="T45" fmla="*/ 18 h 485"/>
              <a:gd name="T46" fmla="*/ 90 w 302"/>
              <a:gd name="T47" fmla="*/ 1 h 485"/>
              <a:gd name="T48" fmla="*/ 134 w 302"/>
              <a:gd name="T49" fmla="*/ 25 h 485"/>
              <a:gd name="T50" fmla="*/ 154 w 302"/>
              <a:gd name="T51" fmla="*/ 72 h 485"/>
              <a:gd name="T52" fmla="*/ 189 w 302"/>
              <a:gd name="T53" fmla="*/ 125 h 485"/>
              <a:gd name="T54" fmla="*/ 206 w 302"/>
              <a:gd name="T55" fmla="*/ 157 h 485"/>
              <a:gd name="T56" fmla="*/ 226 w 302"/>
              <a:gd name="T57" fmla="*/ 190 h 485"/>
              <a:gd name="T58" fmla="*/ 246 w 302"/>
              <a:gd name="T59" fmla="*/ 228 h 485"/>
              <a:gd name="T60" fmla="*/ 286 w 302"/>
              <a:gd name="T61" fmla="*/ 280 h 485"/>
              <a:gd name="T62" fmla="*/ 302 w 302"/>
              <a:gd name="T63" fmla="*/ 311 h 485"/>
              <a:gd name="T64" fmla="*/ 278 w 302"/>
              <a:gd name="T65" fmla="*/ 359 h 485"/>
              <a:gd name="T66" fmla="*/ 244 w 302"/>
              <a:gd name="T67" fmla="*/ 396 h 485"/>
              <a:gd name="T68" fmla="*/ 234 w 302"/>
              <a:gd name="T69" fmla="*/ 412 h 485"/>
              <a:gd name="T70" fmla="*/ 219 w 302"/>
              <a:gd name="T71" fmla="*/ 441 h 485"/>
              <a:gd name="T72" fmla="*/ 183 w 302"/>
              <a:gd name="T73" fmla="*/ 459 h 485"/>
              <a:gd name="T74" fmla="*/ 173 w 302"/>
              <a:gd name="T75" fmla="*/ 469 h 485"/>
              <a:gd name="T76" fmla="*/ 151 w 302"/>
              <a:gd name="T77" fmla="*/ 484 h 485"/>
              <a:gd name="T78" fmla="*/ 114 w 302"/>
              <a:gd name="T79" fmla="*/ 468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2" h="485">
                <a:moveTo>
                  <a:pt x="114" y="468"/>
                </a:moveTo>
                <a:cubicBezTo>
                  <a:pt x="106" y="459"/>
                  <a:pt x="97" y="448"/>
                  <a:pt x="96" y="444"/>
                </a:cubicBezTo>
                <a:cubicBezTo>
                  <a:pt x="95" y="440"/>
                  <a:pt x="89" y="431"/>
                  <a:pt x="83" y="425"/>
                </a:cubicBezTo>
                <a:cubicBezTo>
                  <a:pt x="69" y="410"/>
                  <a:pt x="54" y="379"/>
                  <a:pt x="54" y="365"/>
                </a:cubicBezTo>
                <a:cubicBezTo>
                  <a:pt x="54" y="349"/>
                  <a:pt x="70" y="333"/>
                  <a:pt x="85" y="333"/>
                </a:cubicBezTo>
                <a:cubicBezTo>
                  <a:pt x="95" y="333"/>
                  <a:pt x="110" y="321"/>
                  <a:pt x="110" y="313"/>
                </a:cubicBezTo>
                <a:cubicBezTo>
                  <a:pt x="110" y="310"/>
                  <a:pt x="91" y="299"/>
                  <a:pt x="84" y="299"/>
                </a:cubicBezTo>
                <a:cubicBezTo>
                  <a:pt x="82" y="299"/>
                  <a:pt x="72" y="301"/>
                  <a:pt x="61" y="302"/>
                </a:cubicBezTo>
                <a:cubicBezTo>
                  <a:pt x="37" y="306"/>
                  <a:pt x="25" y="303"/>
                  <a:pt x="19" y="291"/>
                </a:cubicBezTo>
                <a:cubicBezTo>
                  <a:pt x="16" y="285"/>
                  <a:pt x="16" y="279"/>
                  <a:pt x="21" y="271"/>
                </a:cubicBezTo>
                <a:cubicBezTo>
                  <a:pt x="24" y="265"/>
                  <a:pt x="25" y="261"/>
                  <a:pt x="22" y="261"/>
                </a:cubicBezTo>
                <a:cubicBezTo>
                  <a:pt x="20" y="261"/>
                  <a:pt x="15" y="257"/>
                  <a:pt x="10" y="253"/>
                </a:cubicBezTo>
                <a:cubicBezTo>
                  <a:pt x="1" y="244"/>
                  <a:pt x="0" y="225"/>
                  <a:pt x="7" y="205"/>
                </a:cubicBezTo>
                <a:cubicBezTo>
                  <a:pt x="10" y="194"/>
                  <a:pt x="13" y="193"/>
                  <a:pt x="27" y="193"/>
                </a:cubicBezTo>
                <a:cubicBezTo>
                  <a:pt x="41" y="193"/>
                  <a:pt x="42" y="192"/>
                  <a:pt x="40" y="184"/>
                </a:cubicBezTo>
                <a:cubicBezTo>
                  <a:pt x="38" y="179"/>
                  <a:pt x="32" y="170"/>
                  <a:pt x="25" y="164"/>
                </a:cubicBezTo>
                <a:cubicBezTo>
                  <a:pt x="15" y="155"/>
                  <a:pt x="14" y="152"/>
                  <a:pt x="16" y="141"/>
                </a:cubicBezTo>
                <a:cubicBezTo>
                  <a:pt x="19" y="127"/>
                  <a:pt x="27" y="119"/>
                  <a:pt x="42" y="118"/>
                </a:cubicBezTo>
                <a:cubicBezTo>
                  <a:pt x="67" y="115"/>
                  <a:pt x="67" y="112"/>
                  <a:pt x="48" y="91"/>
                </a:cubicBezTo>
                <a:cubicBezTo>
                  <a:pt x="34" y="76"/>
                  <a:pt x="34" y="76"/>
                  <a:pt x="34" y="76"/>
                </a:cubicBezTo>
                <a:cubicBezTo>
                  <a:pt x="42" y="61"/>
                  <a:pt x="42" y="61"/>
                  <a:pt x="42" y="61"/>
                </a:cubicBezTo>
                <a:cubicBezTo>
                  <a:pt x="47" y="52"/>
                  <a:pt x="55" y="42"/>
                  <a:pt x="62" y="39"/>
                </a:cubicBezTo>
                <a:cubicBezTo>
                  <a:pt x="71" y="34"/>
                  <a:pt x="74" y="30"/>
                  <a:pt x="75" y="18"/>
                </a:cubicBezTo>
                <a:cubicBezTo>
                  <a:pt x="76" y="4"/>
                  <a:pt x="77" y="2"/>
                  <a:pt x="90" y="1"/>
                </a:cubicBezTo>
                <a:cubicBezTo>
                  <a:pt x="105" y="0"/>
                  <a:pt x="128" y="12"/>
                  <a:pt x="134" y="25"/>
                </a:cubicBezTo>
                <a:cubicBezTo>
                  <a:pt x="143" y="42"/>
                  <a:pt x="154" y="68"/>
                  <a:pt x="154" y="72"/>
                </a:cubicBezTo>
                <a:cubicBezTo>
                  <a:pt x="154" y="80"/>
                  <a:pt x="171" y="106"/>
                  <a:pt x="189" y="125"/>
                </a:cubicBezTo>
                <a:cubicBezTo>
                  <a:pt x="201" y="139"/>
                  <a:pt x="206" y="147"/>
                  <a:pt x="206" y="157"/>
                </a:cubicBezTo>
                <a:cubicBezTo>
                  <a:pt x="206" y="166"/>
                  <a:pt x="211" y="174"/>
                  <a:pt x="226" y="190"/>
                </a:cubicBezTo>
                <a:cubicBezTo>
                  <a:pt x="244" y="209"/>
                  <a:pt x="246" y="213"/>
                  <a:pt x="246" y="228"/>
                </a:cubicBezTo>
                <a:cubicBezTo>
                  <a:pt x="246" y="246"/>
                  <a:pt x="248" y="248"/>
                  <a:pt x="286" y="280"/>
                </a:cubicBezTo>
                <a:cubicBezTo>
                  <a:pt x="300" y="292"/>
                  <a:pt x="302" y="295"/>
                  <a:pt x="302" y="311"/>
                </a:cubicBezTo>
                <a:cubicBezTo>
                  <a:pt x="302" y="325"/>
                  <a:pt x="299" y="332"/>
                  <a:pt x="278" y="359"/>
                </a:cubicBezTo>
                <a:cubicBezTo>
                  <a:pt x="265" y="377"/>
                  <a:pt x="250" y="394"/>
                  <a:pt x="244" y="396"/>
                </a:cubicBezTo>
                <a:cubicBezTo>
                  <a:pt x="238" y="400"/>
                  <a:pt x="234" y="405"/>
                  <a:pt x="234" y="412"/>
                </a:cubicBezTo>
                <a:cubicBezTo>
                  <a:pt x="234" y="417"/>
                  <a:pt x="227" y="430"/>
                  <a:pt x="219" y="441"/>
                </a:cubicBezTo>
                <a:cubicBezTo>
                  <a:pt x="203" y="463"/>
                  <a:pt x="200" y="464"/>
                  <a:pt x="183" y="459"/>
                </a:cubicBezTo>
                <a:cubicBezTo>
                  <a:pt x="176" y="457"/>
                  <a:pt x="175" y="458"/>
                  <a:pt x="173" y="469"/>
                </a:cubicBezTo>
                <a:cubicBezTo>
                  <a:pt x="172" y="482"/>
                  <a:pt x="172" y="483"/>
                  <a:pt x="151" y="484"/>
                </a:cubicBezTo>
                <a:cubicBezTo>
                  <a:pt x="132" y="485"/>
                  <a:pt x="130" y="484"/>
                  <a:pt x="114" y="468"/>
                </a:cubicBezTo>
                <a:close/>
              </a:path>
            </a:pathLst>
          </a:custGeom>
          <a:solidFill>
            <a:srgbClr val="D3D3D3"/>
          </a:solidFill>
          <a:ln w="22225" cap="flat">
            <a:solidFill>
              <a:srgbClr val="D3D3D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60" name="Freeform 54"/>
          <p:cNvSpPr>
            <a:spLocks/>
          </p:cNvSpPr>
          <p:nvPr userDrawn="1"/>
        </p:nvSpPr>
        <p:spPr bwMode="grayWhite">
          <a:xfrm>
            <a:off x="3168019" y="-3722800"/>
            <a:ext cx="26988" cy="69851"/>
          </a:xfrm>
          <a:custGeom>
            <a:avLst/>
            <a:gdLst>
              <a:gd name="T0" fmla="*/ 2 w 19"/>
              <a:gd name="T1" fmla="*/ 40 h 49"/>
              <a:gd name="T2" fmla="*/ 7 w 19"/>
              <a:gd name="T3" fmla="*/ 15 h 49"/>
              <a:gd name="T4" fmla="*/ 14 w 19"/>
              <a:gd name="T5" fmla="*/ 0 h 49"/>
              <a:gd name="T6" fmla="*/ 6 w 19"/>
              <a:gd name="T7" fmla="*/ 44 h 49"/>
              <a:gd name="T8" fmla="*/ 2 w 19"/>
              <a:gd name="T9" fmla="*/ 40 h 49"/>
            </a:gdLst>
            <a:ahLst/>
            <a:cxnLst>
              <a:cxn ang="0">
                <a:pos x="T0" y="T1"/>
              </a:cxn>
              <a:cxn ang="0">
                <a:pos x="T2" y="T3"/>
              </a:cxn>
              <a:cxn ang="0">
                <a:pos x="T4" y="T5"/>
              </a:cxn>
              <a:cxn ang="0">
                <a:pos x="T6" y="T7"/>
              </a:cxn>
              <a:cxn ang="0">
                <a:pos x="T8" y="T9"/>
              </a:cxn>
            </a:cxnLst>
            <a:rect l="0" t="0" r="r" b="b"/>
            <a:pathLst>
              <a:path w="19" h="49">
                <a:moveTo>
                  <a:pt x="2" y="40"/>
                </a:moveTo>
                <a:cubicBezTo>
                  <a:pt x="4" y="34"/>
                  <a:pt x="6" y="23"/>
                  <a:pt x="7" y="15"/>
                </a:cubicBezTo>
                <a:cubicBezTo>
                  <a:pt x="9" y="6"/>
                  <a:pt x="12" y="0"/>
                  <a:pt x="14" y="0"/>
                </a:cubicBezTo>
                <a:cubicBezTo>
                  <a:pt x="19" y="0"/>
                  <a:pt x="13" y="37"/>
                  <a:pt x="6" y="44"/>
                </a:cubicBezTo>
                <a:cubicBezTo>
                  <a:pt x="1" y="49"/>
                  <a:pt x="0" y="48"/>
                  <a:pt x="2" y="40"/>
                </a:cubicBezTo>
                <a:close/>
              </a:path>
            </a:pathLst>
          </a:custGeom>
          <a:solidFill>
            <a:srgbClr val="D3D3D3"/>
          </a:solidFill>
          <a:ln w="22225" cap="flat">
            <a:solidFill>
              <a:srgbClr val="D3D3D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61" name="Freeform 55"/>
          <p:cNvSpPr>
            <a:spLocks/>
          </p:cNvSpPr>
          <p:nvPr userDrawn="1"/>
        </p:nvSpPr>
        <p:spPr bwMode="grayWhite">
          <a:xfrm>
            <a:off x="3572831" y="-3992673"/>
            <a:ext cx="84139" cy="87313"/>
          </a:xfrm>
          <a:custGeom>
            <a:avLst/>
            <a:gdLst>
              <a:gd name="T0" fmla="*/ 23 w 58"/>
              <a:gd name="T1" fmla="*/ 54 h 61"/>
              <a:gd name="T2" fmla="*/ 2 w 58"/>
              <a:gd name="T3" fmla="*/ 19 h 61"/>
              <a:gd name="T4" fmla="*/ 23 w 58"/>
              <a:gd name="T5" fmla="*/ 0 h 61"/>
              <a:gd name="T6" fmla="*/ 44 w 58"/>
              <a:gd name="T7" fmla="*/ 16 h 61"/>
              <a:gd name="T8" fmla="*/ 47 w 58"/>
              <a:gd name="T9" fmla="*/ 52 h 61"/>
              <a:gd name="T10" fmla="*/ 23 w 58"/>
              <a:gd name="T11" fmla="*/ 54 h 61"/>
            </a:gdLst>
            <a:ahLst/>
            <a:cxnLst>
              <a:cxn ang="0">
                <a:pos x="T0" y="T1"/>
              </a:cxn>
              <a:cxn ang="0">
                <a:pos x="T2" y="T3"/>
              </a:cxn>
              <a:cxn ang="0">
                <a:pos x="T4" y="T5"/>
              </a:cxn>
              <a:cxn ang="0">
                <a:pos x="T6" y="T7"/>
              </a:cxn>
              <a:cxn ang="0">
                <a:pos x="T8" y="T9"/>
              </a:cxn>
              <a:cxn ang="0">
                <a:pos x="T10" y="T11"/>
              </a:cxn>
            </a:cxnLst>
            <a:rect l="0" t="0" r="r" b="b"/>
            <a:pathLst>
              <a:path w="58" h="61">
                <a:moveTo>
                  <a:pt x="23" y="54"/>
                </a:moveTo>
                <a:cubicBezTo>
                  <a:pt x="9" y="44"/>
                  <a:pt x="0" y="27"/>
                  <a:pt x="2" y="19"/>
                </a:cubicBezTo>
                <a:cubicBezTo>
                  <a:pt x="5" y="5"/>
                  <a:pt x="11" y="0"/>
                  <a:pt x="23" y="0"/>
                </a:cubicBezTo>
                <a:cubicBezTo>
                  <a:pt x="31" y="0"/>
                  <a:pt x="36" y="3"/>
                  <a:pt x="44" y="16"/>
                </a:cubicBezTo>
                <a:cubicBezTo>
                  <a:pt x="57" y="35"/>
                  <a:pt x="58" y="41"/>
                  <a:pt x="47" y="52"/>
                </a:cubicBezTo>
                <a:cubicBezTo>
                  <a:pt x="38" y="61"/>
                  <a:pt x="32" y="61"/>
                  <a:pt x="23" y="54"/>
                </a:cubicBezTo>
                <a:close/>
              </a:path>
            </a:pathLst>
          </a:custGeom>
          <a:solidFill>
            <a:srgbClr val="D3D3D3"/>
          </a:solidFill>
          <a:ln w="22225" cap="flat">
            <a:solidFill>
              <a:srgbClr val="D3D3D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62" name="Freeform 56"/>
          <p:cNvSpPr>
            <a:spLocks/>
          </p:cNvSpPr>
          <p:nvPr userDrawn="1"/>
        </p:nvSpPr>
        <p:spPr bwMode="grayWhite">
          <a:xfrm>
            <a:off x="6560508" y="1287354"/>
            <a:ext cx="247651" cy="107951"/>
          </a:xfrm>
          <a:custGeom>
            <a:avLst/>
            <a:gdLst>
              <a:gd name="T0" fmla="*/ 149 w 173"/>
              <a:gd name="T1" fmla="*/ 69 h 75"/>
              <a:gd name="T2" fmla="*/ 113 w 173"/>
              <a:gd name="T3" fmla="*/ 65 h 75"/>
              <a:gd name="T4" fmla="*/ 58 w 173"/>
              <a:gd name="T5" fmla="*/ 57 h 75"/>
              <a:gd name="T6" fmla="*/ 18 w 173"/>
              <a:gd name="T7" fmla="*/ 48 h 75"/>
              <a:gd name="T8" fmla="*/ 10 w 173"/>
              <a:gd name="T9" fmla="*/ 20 h 75"/>
              <a:gd name="T10" fmla="*/ 25 w 173"/>
              <a:gd name="T11" fmla="*/ 0 h 75"/>
              <a:gd name="T12" fmla="*/ 48 w 173"/>
              <a:gd name="T13" fmla="*/ 17 h 75"/>
              <a:gd name="T14" fmla="*/ 71 w 173"/>
              <a:gd name="T15" fmla="*/ 29 h 75"/>
              <a:gd name="T16" fmla="*/ 95 w 173"/>
              <a:gd name="T17" fmla="*/ 24 h 75"/>
              <a:gd name="T18" fmla="*/ 121 w 173"/>
              <a:gd name="T19" fmla="*/ 20 h 75"/>
              <a:gd name="T20" fmla="*/ 172 w 173"/>
              <a:gd name="T21" fmla="*/ 7 h 75"/>
              <a:gd name="T22" fmla="*/ 168 w 173"/>
              <a:gd name="T23" fmla="*/ 21 h 75"/>
              <a:gd name="T24" fmla="*/ 162 w 173"/>
              <a:gd name="T25" fmla="*/ 50 h 75"/>
              <a:gd name="T26" fmla="*/ 149 w 173"/>
              <a:gd name="T27" fmla="*/ 6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3" h="75">
                <a:moveTo>
                  <a:pt x="149" y="69"/>
                </a:moveTo>
                <a:cubicBezTo>
                  <a:pt x="148" y="68"/>
                  <a:pt x="132" y="66"/>
                  <a:pt x="113" y="65"/>
                </a:cubicBezTo>
                <a:cubicBezTo>
                  <a:pt x="95" y="65"/>
                  <a:pt x="70" y="61"/>
                  <a:pt x="58" y="57"/>
                </a:cubicBezTo>
                <a:cubicBezTo>
                  <a:pt x="31" y="50"/>
                  <a:pt x="26" y="48"/>
                  <a:pt x="18" y="48"/>
                </a:cubicBezTo>
                <a:cubicBezTo>
                  <a:pt x="2" y="47"/>
                  <a:pt x="0" y="41"/>
                  <a:pt x="10" y="20"/>
                </a:cubicBezTo>
                <a:cubicBezTo>
                  <a:pt x="15" y="9"/>
                  <a:pt x="22" y="0"/>
                  <a:pt x="25" y="0"/>
                </a:cubicBezTo>
                <a:cubicBezTo>
                  <a:pt x="28" y="0"/>
                  <a:pt x="38" y="7"/>
                  <a:pt x="48" y="17"/>
                </a:cubicBezTo>
                <a:cubicBezTo>
                  <a:pt x="63" y="31"/>
                  <a:pt x="67" y="33"/>
                  <a:pt x="71" y="29"/>
                </a:cubicBezTo>
                <a:cubicBezTo>
                  <a:pt x="73" y="26"/>
                  <a:pt x="83" y="24"/>
                  <a:pt x="95" y="24"/>
                </a:cubicBezTo>
                <a:cubicBezTo>
                  <a:pt x="106" y="24"/>
                  <a:pt x="118" y="22"/>
                  <a:pt x="121" y="20"/>
                </a:cubicBezTo>
                <a:cubicBezTo>
                  <a:pt x="134" y="13"/>
                  <a:pt x="170" y="4"/>
                  <a:pt x="172" y="7"/>
                </a:cubicBezTo>
                <a:cubicBezTo>
                  <a:pt x="173" y="9"/>
                  <a:pt x="171" y="15"/>
                  <a:pt x="168" y="21"/>
                </a:cubicBezTo>
                <a:cubicBezTo>
                  <a:pt x="165" y="27"/>
                  <a:pt x="162" y="40"/>
                  <a:pt x="162" y="50"/>
                </a:cubicBezTo>
                <a:cubicBezTo>
                  <a:pt x="161" y="65"/>
                  <a:pt x="155" y="75"/>
                  <a:pt x="149" y="69"/>
                </a:cubicBezTo>
                <a:close/>
              </a:path>
            </a:pathLst>
          </a:custGeom>
          <a:solidFill>
            <a:srgbClr val="D3D3D3"/>
          </a:solidFill>
          <a:ln w="22225" cap="flat">
            <a:solidFill>
              <a:srgbClr val="D3D3D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63" name="Freeform 57"/>
          <p:cNvSpPr>
            <a:spLocks/>
          </p:cNvSpPr>
          <p:nvPr userDrawn="1"/>
        </p:nvSpPr>
        <p:spPr bwMode="grayWhite">
          <a:xfrm>
            <a:off x="4841245" y="-844660"/>
            <a:ext cx="2170113" cy="2671763"/>
          </a:xfrm>
          <a:custGeom>
            <a:avLst/>
            <a:gdLst>
              <a:gd name="T0" fmla="*/ 510 w 1509"/>
              <a:gd name="T1" fmla="*/ 1808 h 1860"/>
              <a:gd name="T2" fmla="*/ 369 w 1509"/>
              <a:gd name="T3" fmla="*/ 1826 h 1860"/>
              <a:gd name="T4" fmla="*/ 281 w 1509"/>
              <a:gd name="T5" fmla="*/ 1785 h 1860"/>
              <a:gd name="T6" fmla="*/ 139 w 1509"/>
              <a:gd name="T7" fmla="*/ 1660 h 1860"/>
              <a:gd name="T8" fmla="*/ 123 w 1509"/>
              <a:gd name="T9" fmla="*/ 1520 h 1860"/>
              <a:gd name="T10" fmla="*/ 91 w 1509"/>
              <a:gd name="T11" fmla="*/ 1251 h 1860"/>
              <a:gd name="T12" fmla="*/ 119 w 1509"/>
              <a:gd name="T13" fmla="*/ 1194 h 1860"/>
              <a:gd name="T14" fmla="*/ 94 w 1509"/>
              <a:gd name="T15" fmla="*/ 1074 h 1860"/>
              <a:gd name="T16" fmla="*/ 53 w 1509"/>
              <a:gd name="T17" fmla="*/ 967 h 1860"/>
              <a:gd name="T18" fmla="*/ 29 w 1509"/>
              <a:gd name="T19" fmla="*/ 918 h 1860"/>
              <a:gd name="T20" fmla="*/ 134 w 1509"/>
              <a:gd name="T21" fmla="*/ 818 h 1860"/>
              <a:gd name="T22" fmla="*/ 169 w 1509"/>
              <a:gd name="T23" fmla="*/ 626 h 1860"/>
              <a:gd name="T24" fmla="*/ 34 w 1509"/>
              <a:gd name="T25" fmla="*/ 457 h 1860"/>
              <a:gd name="T26" fmla="*/ 57 w 1509"/>
              <a:gd name="T27" fmla="*/ 395 h 1860"/>
              <a:gd name="T28" fmla="*/ 75 w 1509"/>
              <a:gd name="T29" fmla="*/ 317 h 1860"/>
              <a:gd name="T30" fmla="*/ 34 w 1509"/>
              <a:gd name="T31" fmla="*/ 184 h 1860"/>
              <a:gd name="T32" fmla="*/ 0 w 1509"/>
              <a:gd name="T33" fmla="*/ 71 h 1860"/>
              <a:gd name="T34" fmla="*/ 112 w 1509"/>
              <a:gd name="T35" fmla="*/ 29 h 1860"/>
              <a:gd name="T36" fmla="*/ 227 w 1509"/>
              <a:gd name="T37" fmla="*/ 0 h 1860"/>
              <a:gd name="T38" fmla="*/ 366 w 1509"/>
              <a:gd name="T39" fmla="*/ 104 h 1860"/>
              <a:gd name="T40" fmla="*/ 494 w 1509"/>
              <a:gd name="T41" fmla="*/ 136 h 1860"/>
              <a:gd name="T42" fmla="*/ 514 w 1509"/>
              <a:gd name="T43" fmla="*/ 269 h 1860"/>
              <a:gd name="T44" fmla="*/ 550 w 1509"/>
              <a:gd name="T45" fmla="*/ 336 h 1860"/>
              <a:gd name="T46" fmla="*/ 642 w 1509"/>
              <a:gd name="T47" fmla="*/ 370 h 1860"/>
              <a:gd name="T48" fmla="*/ 699 w 1509"/>
              <a:gd name="T49" fmla="*/ 329 h 1860"/>
              <a:gd name="T50" fmla="*/ 724 w 1509"/>
              <a:gd name="T51" fmla="*/ 214 h 1860"/>
              <a:gd name="T52" fmla="*/ 746 w 1509"/>
              <a:gd name="T53" fmla="*/ 146 h 1860"/>
              <a:gd name="T54" fmla="*/ 793 w 1509"/>
              <a:gd name="T55" fmla="*/ 262 h 1860"/>
              <a:gd name="T56" fmla="*/ 839 w 1509"/>
              <a:gd name="T57" fmla="*/ 296 h 1860"/>
              <a:gd name="T58" fmla="*/ 874 w 1509"/>
              <a:gd name="T59" fmla="*/ 382 h 1860"/>
              <a:gd name="T60" fmla="*/ 907 w 1509"/>
              <a:gd name="T61" fmla="*/ 528 h 1860"/>
              <a:gd name="T62" fmla="*/ 961 w 1509"/>
              <a:gd name="T63" fmla="*/ 621 h 1860"/>
              <a:gd name="T64" fmla="*/ 965 w 1509"/>
              <a:gd name="T65" fmla="*/ 697 h 1860"/>
              <a:gd name="T66" fmla="*/ 889 w 1509"/>
              <a:gd name="T67" fmla="*/ 701 h 1860"/>
              <a:gd name="T68" fmla="*/ 796 w 1509"/>
              <a:gd name="T69" fmla="*/ 713 h 1860"/>
              <a:gd name="T70" fmla="*/ 761 w 1509"/>
              <a:gd name="T71" fmla="*/ 773 h 1860"/>
              <a:gd name="T72" fmla="*/ 808 w 1509"/>
              <a:gd name="T73" fmla="*/ 878 h 1860"/>
              <a:gd name="T74" fmla="*/ 876 w 1509"/>
              <a:gd name="T75" fmla="*/ 946 h 1860"/>
              <a:gd name="T76" fmla="*/ 932 w 1509"/>
              <a:gd name="T77" fmla="*/ 1002 h 1860"/>
              <a:gd name="T78" fmla="*/ 1040 w 1509"/>
              <a:gd name="T79" fmla="*/ 1016 h 1860"/>
              <a:gd name="T80" fmla="*/ 1070 w 1509"/>
              <a:gd name="T81" fmla="*/ 952 h 1860"/>
              <a:gd name="T82" fmla="*/ 1441 w 1509"/>
              <a:gd name="T83" fmla="*/ 838 h 1860"/>
              <a:gd name="T84" fmla="*/ 1509 w 1509"/>
              <a:gd name="T85" fmla="*/ 865 h 1860"/>
              <a:gd name="T86" fmla="*/ 1403 w 1509"/>
              <a:gd name="T87" fmla="*/ 1006 h 1860"/>
              <a:gd name="T88" fmla="*/ 1195 w 1509"/>
              <a:gd name="T89" fmla="*/ 1133 h 1860"/>
              <a:gd name="T90" fmla="*/ 929 w 1509"/>
              <a:gd name="T91" fmla="*/ 1301 h 1860"/>
              <a:gd name="T92" fmla="*/ 819 w 1509"/>
              <a:gd name="T93" fmla="*/ 1450 h 1860"/>
              <a:gd name="T94" fmla="*/ 606 w 1509"/>
              <a:gd name="T95" fmla="*/ 1749 h 1860"/>
              <a:gd name="T96" fmla="*/ 772 w 1509"/>
              <a:gd name="T97" fmla="*/ 1582 h 1860"/>
              <a:gd name="T98" fmla="*/ 881 w 1509"/>
              <a:gd name="T99" fmla="*/ 1401 h 1860"/>
              <a:gd name="T100" fmla="*/ 1013 w 1509"/>
              <a:gd name="T101" fmla="*/ 1302 h 1860"/>
              <a:gd name="T102" fmla="*/ 1149 w 1509"/>
              <a:gd name="T103" fmla="*/ 1296 h 1860"/>
              <a:gd name="T104" fmla="*/ 989 w 1509"/>
              <a:gd name="T105" fmla="*/ 1437 h 1860"/>
              <a:gd name="T106" fmla="*/ 894 w 1509"/>
              <a:gd name="T107" fmla="*/ 1534 h 1860"/>
              <a:gd name="T108" fmla="*/ 835 w 1509"/>
              <a:gd name="T109" fmla="*/ 1545 h 1860"/>
              <a:gd name="T110" fmla="*/ 796 w 1509"/>
              <a:gd name="T111" fmla="*/ 1723 h 1860"/>
              <a:gd name="T112" fmla="*/ 724 w 1509"/>
              <a:gd name="T113" fmla="*/ 1829 h 1860"/>
              <a:gd name="T114" fmla="*/ 536 w 1509"/>
              <a:gd name="T115" fmla="*/ 1848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09" h="1860">
                <a:moveTo>
                  <a:pt x="536" y="1848"/>
                </a:moveTo>
                <a:cubicBezTo>
                  <a:pt x="533" y="1842"/>
                  <a:pt x="529" y="1831"/>
                  <a:pt x="528" y="1823"/>
                </a:cubicBezTo>
                <a:cubicBezTo>
                  <a:pt x="527" y="1810"/>
                  <a:pt x="526" y="1809"/>
                  <a:pt x="510" y="1808"/>
                </a:cubicBezTo>
                <a:cubicBezTo>
                  <a:pt x="494" y="1807"/>
                  <a:pt x="472" y="1815"/>
                  <a:pt x="449" y="1832"/>
                </a:cubicBezTo>
                <a:cubicBezTo>
                  <a:pt x="440" y="1838"/>
                  <a:pt x="431" y="1840"/>
                  <a:pt x="408" y="1840"/>
                </a:cubicBezTo>
                <a:cubicBezTo>
                  <a:pt x="378" y="1840"/>
                  <a:pt x="378" y="1839"/>
                  <a:pt x="369" y="1826"/>
                </a:cubicBezTo>
                <a:cubicBezTo>
                  <a:pt x="363" y="1818"/>
                  <a:pt x="356" y="1812"/>
                  <a:pt x="352" y="1812"/>
                </a:cubicBezTo>
                <a:cubicBezTo>
                  <a:pt x="347" y="1812"/>
                  <a:pt x="335" y="1806"/>
                  <a:pt x="324" y="1799"/>
                </a:cubicBezTo>
                <a:cubicBezTo>
                  <a:pt x="310" y="1790"/>
                  <a:pt x="297" y="1786"/>
                  <a:pt x="281" y="1785"/>
                </a:cubicBezTo>
                <a:cubicBezTo>
                  <a:pt x="248" y="1782"/>
                  <a:pt x="210" y="1769"/>
                  <a:pt x="187" y="1754"/>
                </a:cubicBezTo>
                <a:cubicBezTo>
                  <a:pt x="170" y="1742"/>
                  <a:pt x="164" y="1734"/>
                  <a:pt x="154" y="1712"/>
                </a:cubicBezTo>
                <a:cubicBezTo>
                  <a:pt x="147" y="1696"/>
                  <a:pt x="141" y="1675"/>
                  <a:pt x="139" y="1660"/>
                </a:cubicBezTo>
                <a:cubicBezTo>
                  <a:pt x="138" y="1645"/>
                  <a:pt x="136" y="1628"/>
                  <a:pt x="135" y="1622"/>
                </a:cubicBezTo>
                <a:cubicBezTo>
                  <a:pt x="134" y="1615"/>
                  <a:pt x="132" y="1592"/>
                  <a:pt x="129" y="1572"/>
                </a:cubicBezTo>
                <a:cubicBezTo>
                  <a:pt x="127" y="1551"/>
                  <a:pt x="124" y="1527"/>
                  <a:pt x="123" y="1520"/>
                </a:cubicBezTo>
                <a:cubicBezTo>
                  <a:pt x="122" y="1512"/>
                  <a:pt x="120" y="1497"/>
                  <a:pt x="119" y="1488"/>
                </a:cubicBezTo>
                <a:cubicBezTo>
                  <a:pt x="118" y="1478"/>
                  <a:pt x="112" y="1423"/>
                  <a:pt x="105" y="1366"/>
                </a:cubicBezTo>
                <a:cubicBezTo>
                  <a:pt x="98" y="1308"/>
                  <a:pt x="92" y="1257"/>
                  <a:pt x="91" y="1251"/>
                </a:cubicBezTo>
                <a:cubicBezTo>
                  <a:pt x="89" y="1242"/>
                  <a:pt x="90" y="1240"/>
                  <a:pt x="101" y="1238"/>
                </a:cubicBezTo>
                <a:cubicBezTo>
                  <a:pt x="113" y="1236"/>
                  <a:pt x="114" y="1235"/>
                  <a:pt x="111" y="1223"/>
                </a:cubicBezTo>
                <a:cubicBezTo>
                  <a:pt x="109" y="1214"/>
                  <a:pt x="111" y="1207"/>
                  <a:pt x="119" y="1194"/>
                </a:cubicBezTo>
                <a:cubicBezTo>
                  <a:pt x="125" y="1185"/>
                  <a:pt x="130" y="1173"/>
                  <a:pt x="130" y="1168"/>
                </a:cubicBezTo>
                <a:cubicBezTo>
                  <a:pt x="130" y="1162"/>
                  <a:pt x="123" y="1142"/>
                  <a:pt x="114" y="1124"/>
                </a:cubicBezTo>
                <a:cubicBezTo>
                  <a:pt x="105" y="1105"/>
                  <a:pt x="96" y="1082"/>
                  <a:pt x="94" y="1074"/>
                </a:cubicBezTo>
                <a:cubicBezTo>
                  <a:pt x="91" y="1065"/>
                  <a:pt x="86" y="1053"/>
                  <a:pt x="83" y="1048"/>
                </a:cubicBezTo>
                <a:cubicBezTo>
                  <a:pt x="78" y="1041"/>
                  <a:pt x="76" y="1032"/>
                  <a:pt x="77" y="1019"/>
                </a:cubicBezTo>
                <a:cubicBezTo>
                  <a:pt x="78" y="998"/>
                  <a:pt x="67" y="975"/>
                  <a:pt x="53" y="967"/>
                </a:cubicBezTo>
                <a:cubicBezTo>
                  <a:pt x="48" y="965"/>
                  <a:pt x="45" y="959"/>
                  <a:pt x="45" y="952"/>
                </a:cubicBezTo>
                <a:cubicBezTo>
                  <a:pt x="45" y="946"/>
                  <a:pt x="41" y="937"/>
                  <a:pt x="37" y="932"/>
                </a:cubicBezTo>
                <a:cubicBezTo>
                  <a:pt x="33" y="926"/>
                  <a:pt x="29" y="920"/>
                  <a:pt x="29" y="918"/>
                </a:cubicBezTo>
                <a:cubicBezTo>
                  <a:pt x="29" y="912"/>
                  <a:pt x="49" y="894"/>
                  <a:pt x="71" y="880"/>
                </a:cubicBezTo>
                <a:cubicBezTo>
                  <a:pt x="82" y="874"/>
                  <a:pt x="97" y="861"/>
                  <a:pt x="104" y="853"/>
                </a:cubicBezTo>
                <a:cubicBezTo>
                  <a:pt x="111" y="844"/>
                  <a:pt x="125" y="829"/>
                  <a:pt x="134" y="818"/>
                </a:cubicBezTo>
                <a:cubicBezTo>
                  <a:pt x="146" y="805"/>
                  <a:pt x="157" y="787"/>
                  <a:pt x="167" y="763"/>
                </a:cubicBezTo>
                <a:cubicBezTo>
                  <a:pt x="180" y="730"/>
                  <a:pt x="181" y="724"/>
                  <a:pt x="181" y="693"/>
                </a:cubicBezTo>
                <a:cubicBezTo>
                  <a:pt x="180" y="668"/>
                  <a:pt x="177" y="650"/>
                  <a:pt x="169" y="626"/>
                </a:cubicBezTo>
                <a:cubicBezTo>
                  <a:pt x="163" y="608"/>
                  <a:pt x="157" y="589"/>
                  <a:pt x="156" y="583"/>
                </a:cubicBezTo>
                <a:cubicBezTo>
                  <a:pt x="151" y="564"/>
                  <a:pt x="116" y="526"/>
                  <a:pt x="90" y="512"/>
                </a:cubicBezTo>
                <a:cubicBezTo>
                  <a:pt x="59" y="496"/>
                  <a:pt x="35" y="472"/>
                  <a:pt x="34" y="457"/>
                </a:cubicBezTo>
                <a:cubicBezTo>
                  <a:pt x="33" y="450"/>
                  <a:pt x="36" y="438"/>
                  <a:pt x="40" y="429"/>
                </a:cubicBezTo>
                <a:cubicBezTo>
                  <a:pt x="44" y="421"/>
                  <a:pt x="47" y="411"/>
                  <a:pt x="48" y="408"/>
                </a:cubicBezTo>
                <a:cubicBezTo>
                  <a:pt x="48" y="404"/>
                  <a:pt x="52" y="399"/>
                  <a:pt x="57" y="395"/>
                </a:cubicBezTo>
                <a:cubicBezTo>
                  <a:pt x="63" y="390"/>
                  <a:pt x="65" y="384"/>
                  <a:pt x="65" y="369"/>
                </a:cubicBezTo>
                <a:cubicBezTo>
                  <a:pt x="65" y="356"/>
                  <a:pt x="67" y="348"/>
                  <a:pt x="73" y="342"/>
                </a:cubicBezTo>
                <a:cubicBezTo>
                  <a:pt x="80" y="334"/>
                  <a:pt x="80" y="332"/>
                  <a:pt x="75" y="317"/>
                </a:cubicBezTo>
                <a:cubicBezTo>
                  <a:pt x="72" y="308"/>
                  <a:pt x="69" y="296"/>
                  <a:pt x="68" y="290"/>
                </a:cubicBezTo>
                <a:cubicBezTo>
                  <a:pt x="65" y="278"/>
                  <a:pt x="55" y="257"/>
                  <a:pt x="43" y="242"/>
                </a:cubicBezTo>
                <a:cubicBezTo>
                  <a:pt x="35" y="231"/>
                  <a:pt x="34" y="225"/>
                  <a:pt x="34" y="184"/>
                </a:cubicBezTo>
                <a:cubicBezTo>
                  <a:pt x="34" y="151"/>
                  <a:pt x="32" y="137"/>
                  <a:pt x="28" y="132"/>
                </a:cubicBezTo>
                <a:cubicBezTo>
                  <a:pt x="25" y="129"/>
                  <a:pt x="17" y="113"/>
                  <a:pt x="11" y="98"/>
                </a:cubicBezTo>
                <a:cubicBezTo>
                  <a:pt x="0" y="71"/>
                  <a:pt x="0" y="71"/>
                  <a:pt x="0" y="71"/>
                </a:cubicBezTo>
                <a:cubicBezTo>
                  <a:pt x="10" y="50"/>
                  <a:pt x="10" y="50"/>
                  <a:pt x="10" y="50"/>
                </a:cubicBezTo>
                <a:cubicBezTo>
                  <a:pt x="20" y="30"/>
                  <a:pt x="21" y="29"/>
                  <a:pt x="39" y="26"/>
                </a:cubicBezTo>
                <a:cubicBezTo>
                  <a:pt x="69" y="22"/>
                  <a:pt x="95" y="23"/>
                  <a:pt x="112" y="29"/>
                </a:cubicBezTo>
                <a:cubicBezTo>
                  <a:pt x="135" y="37"/>
                  <a:pt x="167" y="40"/>
                  <a:pt x="180" y="35"/>
                </a:cubicBezTo>
                <a:cubicBezTo>
                  <a:pt x="186" y="33"/>
                  <a:pt x="198" y="24"/>
                  <a:pt x="207" y="15"/>
                </a:cubicBezTo>
                <a:cubicBezTo>
                  <a:pt x="216" y="7"/>
                  <a:pt x="225" y="0"/>
                  <a:pt x="227" y="0"/>
                </a:cubicBezTo>
                <a:cubicBezTo>
                  <a:pt x="234" y="0"/>
                  <a:pt x="311" y="40"/>
                  <a:pt x="337" y="58"/>
                </a:cubicBezTo>
                <a:cubicBezTo>
                  <a:pt x="356" y="71"/>
                  <a:pt x="361" y="75"/>
                  <a:pt x="360" y="84"/>
                </a:cubicBezTo>
                <a:cubicBezTo>
                  <a:pt x="360" y="89"/>
                  <a:pt x="363" y="98"/>
                  <a:pt x="366" y="104"/>
                </a:cubicBezTo>
                <a:cubicBezTo>
                  <a:pt x="372" y="113"/>
                  <a:pt x="377" y="114"/>
                  <a:pt x="414" y="119"/>
                </a:cubicBezTo>
                <a:cubicBezTo>
                  <a:pt x="437" y="122"/>
                  <a:pt x="464" y="127"/>
                  <a:pt x="475" y="130"/>
                </a:cubicBezTo>
                <a:cubicBezTo>
                  <a:pt x="494" y="136"/>
                  <a:pt x="494" y="136"/>
                  <a:pt x="494" y="136"/>
                </a:cubicBezTo>
                <a:cubicBezTo>
                  <a:pt x="491" y="158"/>
                  <a:pt x="491" y="158"/>
                  <a:pt x="491" y="158"/>
                </a:cubicBezTo>
                <a:cubicBezTo>
                  <a:pt x="489" y="180"/>
                  <a:pt x="492" y="193"/>
                  <a:pt x="510" y="246"/>
                </a:cubicBezTo>
                <a:cubicBezTo>
                  <a:pt x="512" y="252"/>
                  <a:pt x="514" y="262"/>
                  <a:pt x="514" y="269"/>
                </a:cubicBezTo>
                <a:cubicBezTo>
                  <a:pt x="514" y="275"/>
                  <a:pt x="517" y="283"/>
                  <a:pt x="524" y="290"/>
                </a:cubicBezTo>
                <a:cubicBezTo>
                  <a:pt x="529" y="295"/>
                  <a:pt x="537" y="308"/>
                  <a:pt x="542" y="318"/>
                </a:cubicBezTo>
                <a:cubicBezTo>
                  <a:pt x="550" y="336"/>
                  <a:pt x="550" y="336"/>
                  <a:pt x="550" y="336"/>
                </a:cubicBezTo>
                <a:cubicBezTo>
                  <a:pt x="569" y="333"/>
                  <a:pt x="569" y="333"/>
                  <a:pt x="569" y="333"/>
                </a:cubicBezTo>
                <a:cubicBezTo>
                  <a:pt x="588" y="331"/>
                  <a:pt x="590" y="331"/>
                  <a:pt x="610" y="349"/>
                </a:cubicBezTo>
                <a:cubicBezTo>
                  <a:pt x="622" y="359"/>
                  <a:pt x="636" y="368"/>
                  <a:pt x="642" y="370"/>
                </a:cubicBezTo>
                <a:cubicBezTo>
                  <a:pt x="648" y="371"/>
                  <a:pt x="653" y="374"/>
                  <a:pt x="653" y="376"/>
                </a:cubicBezTo>
                <a:cubicBezTo>
                  <a:pt x="653" y="383"/>
                  <a:pt x="662" y="379"/>
                  <a:pt x="679" y="363"/>
                </a:cubicBezTo>
                <a:cubicBezTo>
                  <a:pt x="692" y="350"/>
                  <a:pt x="697" y="341"/>
                  <a:pt x="699" y="329"/>
                </a:cubicBezTo>
                <a:cubicBezTo>
                  <a:pt x="701" y="317"/>
                  <a:pt x="704" y="311"/>
                  <a:pt x="711" y="309"/>
                </a:cubicBezTo>
                <a:cubicBezTo>
                  <a:pt x="716" y="306"/>
                  <a:pt x="722" y="298"/>
                  <a:pt x="725" y="287"/>
                </a:cubicBezTo>
                <a:cubicBezTo>
                  <a:pt x="731" y="267"/>
                  <a:pt x="731" y="226"/>
                  <a:pt x="724" y="214"/>
                </a:cubicBezTo>
                <a:cubicBezTo>
                  <a:pt x="721" y="209"/>
                  <a:pt x="720" y="204"/>
                  <a:pt x="721" y="202"/>
                </a:cubicBezTo>
                <a:cubicBezTo>
                  <a:pt x="721" y="199"/>
                  <a:pt x="724" y="188"/>
                  <a:pt x="726" y="176"/>
                </a:cubicBezTo>
                <a:cubicBezTo>
                  <a:pt x="729" y="156"/>
                  <a:pt x="739" y="142"/>
                  <a:pt x="746" y="146"/>
                </a:cubicBezTo>
                <a:cubicBezTo>
                  <a:pt x="747" y="147"/>
                  <a:pt x="749" y="154"/>
                  <a:pt x="751" y="163"/>
                </a:cubicBezTo>
                <a:cubicBezTo>
                  <a:pt x="754" y="181"/>
                  <a:pt x="772" y="212"/>
                  <a:pt x="779" y="212"/>
                </a:cubicBezTo>
                <a:cubicBezTo>
                  <a:pt x="784" y="212"/>
                  <a:pt x="795" y="252"/>
                  <a:pt x="793" y="262"/>
                </a:cubicBezTo>
                <a:cubicBezTo>
                  <a:pt x="791" y="272"/>
                  <a:pt x="794" y="274"/>
                  <a:pt x="816" y="272"/>
                </a:cubicBezTo>
                <a:cubicBezTo>
                  <a:pt x="839" y="271"/>
                  <a:pt x="839" y="271"/>
                  <a:pt x="839" y="271"/>
                </a:cubicBezTo>
                <a:cubicBezTo>
                  <a:pt x="839" y="296"/>
                  <a:pt x="839" y="296"/>
                  <a:pt x="839" y="296"/>
                </a:cubicBezTo>
                <a:cubicBezTo>
                  <a:pt x="838" y="310"/>
                  <a:pt x="836" y="328"/>
                  <a:pt x="834" y="335"/>
                </a:cubicBezTo>
                <a:cubicBezTo>
                  <a:pt x="831" y="344"/>
                  <a:pt x="831" y="351"/>
                  <a:pt x="833" y="356"/>
                </a:cubicBezTo>
                <a:cubicBezTo>
                  <a:pt x="838" y="364"/>
                  <a:pt x="859" y="378"/>
                  <a:pt x="874" y="382"/>
                </a:cubicBezTo>
                <a:cubicBezTo>
                  <a:pt x="887" y="385"/>
                  <a:pt x="889" y="389"/>
                  <a:pt x="891" y="435"/>
                </a:cubicBezTo>
                <a:cubicBezTo>
                  <a:pt x="892" y="456"/>
                  <a:pt x="896" y="482"/>
                  <a:pt x="899" y="493"/>
                </a:cubicBezTo>
                <a:cubicBezTo>
                  <a:pt x="902" y="504"/>
                  <a:pt x="906" y="520"/>
                  <a:pt x="907" y="528"/>
                </a:cubicBezTo>
                <a:cubicBezTo>
                  <a:pt x="908" y="537"/>
                  <a:pt x="913" y="545"/>
                  <a:pt x="922" y="551"/>
                </a:cubicBezTo>
                <a:cubicBezTo>
                  <a:pt x="934" y="560"/>
                  <a:pt x="953" y="595"/>
                  <a:pt x="953" y="608"/>
                </a:cubicBezTo>
                <a:cubicBezTo>
                  <a:pt x="953" y="611"/>
                  <a:pt x="956" y="617"/>
                  <a:pt x="961" y="621"/>
                </a:cubicBezTo>
                <a:cubicBezTo>
                  <a:pt x="965" y="625"/>
                  <a:pt x="971" y="635"/>
                  <a:pt x="975" y="643"/>
                </a:cubicBezTo>
                <a:cubicBezTo>
                  <a:pt x="982" y="658"/>
                  <a:pt x="982" y="659"/>
                  <a:pt x="974" y="678"/>
                </a:cubicBezTo>
                <a:cubicBezTo>
                  <a:pt x="965" y="697"/>
                  <a:pt x="965" y="697"/>
                  <a:pt x="965" y="697"/>
                </a:cubicBezTo>
                <a:cubicBezTo>
                  <a:pt x="944" y="694"/>
                  <a:pt x="944" y="694"/>
                  <a:pt x="944" y="694"/>
                </a:cubicBezTo>
                <a:cubicBezTo>
                  <a:pt x="933" y="693"/>
                  <a:pt x="918" y="691"/>
                  <a:pt x="911" y="689"/>
                </a:cubicBezTo>
                <a:cubicBezTo>
                  <a:pt x="900" y="687"/>
                  <a:pt x="898" y="688"/>
                  <a:pt x="889" y="701"/>
                </a:cubicBezTo>
                <a:cubicBezTo>
                  <a:pt x="878" y="717"/>
                  <a:pt x="871" y="719"/>
                  <a:pt x="861" y="709"/>
                </a:cubicBezTo>
                <a:cubicBezTo>
                  <a:pt x="857" y="706"/>
                  <a:pt x="843" y="701"/>
                  <a:pt x="829" y="698"/>
                </a:cubicBezTo>
                <a:cubicBezTo>
                  <a:pt x="803" y="692"/>
                  <a:pt x="800" y="694"/>
                  <a:pt x="796" y="713"/>
                </a:cubicBezTo>
                <a:cubicBezTo>
                  <a:pt x="794" y="719"/>
                  <a:pt x="789" y="726"/>
                  <a:pt x="783" y="728"/>
                </a:cubicBezTo>
                <a:cubicBezTo>
                  <a:pt x="775" y="732"/>
                  <a:pt x="773" y="736"/>
                  <a:pt x="773" y="746"/>
                </a:cubicBezTo>
                <a:cubicBezTo>
                  <a:pt x="773" y="756"/>
                  <a:pt x="770" y="763"/>
                  <a:pt x="761" y="773"/>
                </a:cubicBezTo>
                <a:cubicBezTo>
                  <a:pt x="750" y="784"/>
                  <a:pt x="749" y="788"/>
                  <a:pt x="751" y="802"/>
                </a:cubicBezTo>
                <a:cubicBezTo>
                  <a:pt x="752" y="811"/>
                  <a:pt x="755" y="823"/>
                  <a:pt x="758" y="828"/>
                </a:cubicBezTo>
                <a:cubicBezTo>
                  <a:pt x="767" y="846"/>
                  <a:pt x="791" y="870"/>
                  <a:pt x="808" y="878"/>
                </a:cubicBezTo>
                <a:cubicBezTo>
                  <a:pt x="825" y="886"/>
                  <a:pt x="828" y="896"/>
                  <a:pt x="820" y="919"/>
                </a:cubicBezTo>
                <a:cubicBezTo>
                  <a:pt x="816" y="931"/>
                  <a:pt x="816" y="933"/>
                  <a:pt x="827" y="942"/>
                </a:cubicBezTo>
                <a:cubicBezTo>
                  <a:pt x="839" y="952"/>
                  <a:pt x="852" y="953"/>
                  <a:pt x="876" y="946"/>
                </a:cubicBezTo>
                <a:cubicBezTo>
                  <a:pt x="883" y="943"/>
                  <a:pt x="884" y="945"/>
                  <a:pt x="887" y="964"/>
                </a:cubicBezTo>
                <a:cubicBezTo>
                  <a:pt x="889" y="978"/>
                  <a:pt x="893" y="987"/>
                  <a:pt x="900" y="994"/>
                </a:cubicBezTo>
                <a:cubicBezTo>
                  <a:pt x="909" y="1004"/>
                  <a:pt x="912" y="1004"/>
                  <a:pt x="932" y="1002"/>
                </a:cubicBezTo>
                <a:cubicBezTo>
                  <a:pt x="950" y="999"/>
                  <a:pt x="955" y="1000"/>
                  <a:pt x="962" y="1006"/>
                </a:cubicBezTo>
                <a:cubicBezTo>
                  <a:pt x="966" y="1010"/>
                  <a:pt x="973" y="1014"/>
                  <a:pt x="976" y="1014"/>
                </a:cubicBezTo>
                <a:cubicBezTo>
                  <a:pt x="995" y="1018"/>
                  <a:pt x="1036" y="1019"/>
                  <a:pt x="1040" y="1016"/>
                </a:cubicBezTo>
                <a:cubicBezTo>
                  <a:pt x="1043" y="1014"/>
                  <a:pt x="1046" y="1005"/>
                  <a:pt x="1047" y="995"/>
                </a:cubicBezTo>
                <a:cubicBezTo>
                  <a:pt x="1050" y="973"/>
                  <a:pt x="1052" y="946"/>
                  <a:pt x="1053" y="944"/>
                </a:cubicBezTo>
                <a:cubicBezTo>
                  <a:pt x="1053" y="944"/>
                  <a:pt x="1061" y="947"/>
                  <a:pt x="1070" y="952"/>
                </a:cubicBezTo>
                <a:cubicBezTo>
                  <a:pt x="1082" y="958"/>
                  <a:pt x="1091" y="960"/>
                  <a:pt x="1103" y="958"/>
                </a:cubicBezTo>
                <a:cubicBezTo>
                  <a:pt x="1120" y="956"/>
                  <a:pt x="1184" y="934"/>
                  <a:pt x="1251" y="908"/>
                </a:cubicBezTo>
                <a:cubicBezTo>
                  <a:pt x="1354" y="867"/>
                  <a:pt x="1417" y="844"/>
                  <a:pt x="1441" y="838"/>
                </a:cubicBezTo>
                <a:cubicBezTo>
                  <a:pt x="1455" y="834"/>
                  <a:pt x="1469" y="829"/>
                  <a:pt x="1472" y="827"/>
                </a:cubicBezTo>
                <a:cubicBezTo>
                  <a:pt x="1475" y="824"/>
                  <a:pt x="1479" y="824"/>
                  <a:pt x="1481" y="826"/>
                </a:cubicBezTo>
                <a:cubicBezTo>
                  <a:pt x="1490" y="837"/>
                  <a:pt x="1509" y="863"/>
                  <a:pt x="1509" y="865"/>
                </a:cubicBezTo>
                <a:cubicBezTo>
                  <a:pt x="1509" y="866"/>
                  <a:pt x="1498" y="876"/>
                  <a:pt x="1484" y="886"/>
                </a:cubicBezTo>
                <a:cubicBezTo>
                  <a:pt x="1447" y="914"/>
                  <a:pt x="1426" y="939"/>
                  <a:pt x="1423" y="956"/>
                </a:cubicBezTo>
                <a:cubicBezTo>
                  <a:pt x="1422" y="963"/>
                  <a:pt x="1413" y="986"/>
                  <a:pt x="1403" y="1006"/>
                </a:cubicBezTo>
                <a:cubicBezTo>
                  <a:pt x="1393" y="1025"/>
                  <a:pt x="1383" y="1046"/>
                  <a:pt x="1382" y="1052"/>
                </a:cubicBezTo>
                <a:cubicBezTo>
                  <a:pt x="1377" y="1064"/>
                  <a:pt x="1312" y="1099"/>
                  <a:pt x="1271" y="1111"/>
                </a:cubicBezTo>
                <a:cubicBezTo>
                  <a:pt x="1256" y="1115"/>
                  <a:pt x="1222" y="1125"/>
                  <a:pt x="1195" y="1133"/>
                </a:cubicBezTo>
                <a:cubicBezTo>
                  <a:pt x="1040" y="1178"/>
                  <a:pt x="966" y="1206"/>
                  <a:pt x="952" y="1225"/>
                </a:cubicBezTo>
                <a:cubicBezTo>
                  <a:pt x="948" y="1230"/>
                  <a:pt x="943" y="1243"/>
                  <a:pt x="941" y="1254"/>
                </a:cubicBezTo>
                <a:cubicBezTo>
                  <a:pt x="939" y="1265"/>
                  <a:pt x="933" y="1286"/>
                  <a:pt x="929" y="1301"/>
                </a:cubicBezTo>
                <a:cubicBezTo>
                  <a:pt x="922" y="1324"/>
                  <a:pt x="919" y="1328"/>
                  <a:pt x="911" y="1328"/>
                </a:cubicBezTo>
                <a:cubicBezTo>
                  <a:pt x="892" y="1328"/>
                  <a:pt x="853" y="1372"/>
                  <a:pt x="839" y="1410"/>
                </a:cubicBezTo>
                <a:cubicBezTo>
                  <a:pt x="835" y="1421"/>
                  <a:pt x="826" y="1439"/>
                  <a:pt x="819" y="1450"/>
                </a:cubicBezTo>
                <a:cubicBezTo>
                  <a:pt x="812" y="1461"/>
                  <a:pt x="805" y="1476"/>
                  <a:pt x="804" y="1484"/>
                </a:cubicBezTo>
                <a:cubicBezTo>
                  <a:pt x="800" y="1517"/>
                  <a:pt x="738" y="1617"/>
                  <a:pt x="706" y="1642"/>
                </a:cubicBezTo>
                <a:cubicBezTo>
                  <a:pt x="661" y="1678"/>
                  <a:pt x="600" y="1744"/>
                  <a:pt x="606" y="1749"/>
                </a:cubicBezTo>
                <a:cubicBezTo>
                  <a:pt x="606" y="1750"/>
                  <a:pt x="622" y="1734"/>
                  <a:pt x="641" y="1713"/>
                </a:cubicBezTo>
                <a:cubicBezTo>
                  <a:pt x="660" y="1693"/>
                  <a:pt x="687" y="1667"/>
                  <a:pt x="701" y="1656"/>
                </a:cubicBezTo>
                <a:cubicBezTo>
                  <a:pt x="726" y="1637"/>
                  <a:pt x="753" y="1608"/>
                  <a:pt x="772" y="1582"/>
                </a:cubicBezTo>
                <a:cubicBezTo>
                  <a:pt x="788" y="1558"/>
                  <a:pt x="817" y="1500"/>
                  <a:pt x="817" y="1492"/>
                </a:cubicBezTo>
                <a:cubicBezTo>
                  <a:pt x="817" y="1487"/>
                  <a:pt x="819" y="1479"/>
                  <a:pt x="822" y="1474"/>
                </a:cubicBezTo>
                <a:cubicBezTo>
                  <a:pt x="829" y="1460"/>
                  <a:pt x="866" y="1415"/>
                  <a:pt x="881" y="1401"/>
                </a:cubicBezTo>
                <a:cubicBezTo>
                  <a:pt x="889" y="1394"/>
                  <a:pt x="904" y="1380"/>
                  <a:pt x="915" y="1370"/>
                </a:cubicBezTo>
                <a:cubicBezTo>
                  <a:pt x="926" y="1360"/>
                  <a:pt x="946" y="1345"/>
                  <a:pt x="959" y="1337"/>
                </a:cubicBezTo>
                <a:cubicBezTo>
                  <a:pt x="972" y="1329"/>
                  <a:pt x="997" y="1313"/>
                  <a:pt x="1013" y="1302"/>
                </a:cubicBezTo>
                <a:cubicBezTo>
                  <a:pt x="1034" y="1287"/>
                  <a:pt x="1051" y="1279"/>
                  <a:pt x="1069" y="1274"/>
                </a:cubicBezTo>
                <a:cubicBezTo>
                  <a:pt x="1094" y="1268"/>
                  <a:pt x="1097" y="1268"/>
                  <a:pt x="1119" y="1275"/>
                </a:cubicBezTo>
                <a:cubicBezTo>
                  <a:pt x="1138" y="1281"/>
                  <a:pt x="1144" y="1285"/>
                  <a:pt x="1149" y="1296"/>
                </a:cubicBezTo>
                <a:cubicBezTo>
                  <a:pt x="1165" y="1326"/>
                  <a:pt x="1163" y="1347"/>
                  <a:pt x="1140" y="1375"/>
                </a:cubicBezTo>
                <a:cubicBezTo>
                  <a:pt x="1118" y="1402"/>
                  <a:pt x="1109" y="1407"/>
                  <a:pt x="1086" y="1409"/>
                </a:cubicBezTo>
                <a:cubicBezTo>
                  <a:pt x="1040" y="1414"/>
                  <a:pt x="1002" y="1425"/>
                  <a:pt x="989" y="1437"/>
                </a:cubicBezTo>
                <a:cubicBezTo>
                  <a:pt x="973" y="1452"/>
                  <a:pt x="960" y="1456"/>
                  <a:pt x="928" y="1457"/>
                </a:cubicBezTo>
                <a:cubicBezTo>
                  <a:pt x="890" y="1459"/>
                  <a:pt x="888" y="1462"/>
                  <a:pt x="891" y="1502"/>
                </a:cubicBezTo>
                <a:cubicBezTo>
                  <a:pt x="894" y="1534"/>
                  <a:pt x="894" y="1534"/>
                  <a:pt x="894" y="1534"/>
                </a:cubicBezTo>
                <a:cubicBezTo>
                  <a:pt x="878" y="1537"/>
                  <a:pt x="878" y="1537"/>
                  <a:pt x="878" y="1537"/>
                </a:cubicBezTo>
                <a:cubicBezTo>
                  <a:pt x="870" y="1538"/>
                  <a:pt x="858" y="1538"/>
                  <a:pt x="852" y="1537"/>
                </a:cubicBezTo>
                <a:cubicBezTo>
                  <a:pt x="844" y="1536"/>
                  <a:pt x="840" y="1538"/>
                  <a:pt x="835" y="1545"/>
                </a:cubicBezTo>
                <a:cubicBezTo>
                  <a:pt x="827" y="1556"/>
                  <a:pt x="810" y="1611"/>
                  <a:pt x="807" y="1636"/>
                </a:cubicBezTo>
                <a:cubicBezTo>
                  <a:pt x="806" y="1645"/>
                  <a:pt x="803" y="1665"/>
                  <a:pt x="801" y="1680"/>
                </a:cubicBezTo>
                <a:cubicBezTo>
                  <a:pt x="799" y="1694"/>
                  <a:pt x="796" y="1713"/>
                  <a:pt x="796" y="1723"/>
                </a:cubicBezTo>
                <a:cubicBezTo>
                  <a:pt x="792" y="1754"/>
                  <a:pt x="780" y="1780"/>
                  <a:pt x="765" y="1791"/>
                </a:cubicBezTo>
                <a:cubicBezTo>
                  <a:pt x="757" y="1797"/>
                  <a:pt x="746" y="1807"/>
                  <a:pt x="741" y="1815"/>
                </a:cubicBezTo>
                <a:cubicBezTo>
                  <a:pt x="736" y="1822"/>
                  <a:pt x="728" y="1828"/>
                  <a:pt x="724" y="1829"/>
                </a:cubicBezTo>
                <a:cubicBezTo>
                  <a:pt x="719" y="1830"/>
                  <a:pt x="686" y="1837"/>
                  <a:pt x="650" y="1845"/>
                </a:cubicBezTo>
                <a:cubicBezTo>
                  <a:pt x="615" y="1853"/>
                  <a:pt x="576" y="1860"/>
                  <a:pt x="564" y="1860"/>
                </a:cubicBezTo>
                <a:cubicBezTo>
                  <a:pt x="545" y="1860"/>
                  <a:pt x="542" y="1858"/>
                  <a:pt x="536" y="1848"/>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dirty="0"/>
          </a:p>
        </p:txBody>
      </p:sp>
      <p:sp>
        <p:nvSpPr>
          <p:cNvPr id="264" name="Freeform 58"/>
          <p:cNvSpPr>
            <a:spLocks/>
          </p:cNvSpPr>
          <p:nvPr userDrawn="1"/>
        </p:nvSpPr>
        <p:spPr bwMode="grayWhite">
          <a:xfrm>
            <a:off x="6425571" y="841265"/>
            <a:ext cx="292100" cy="92075"/>
          </a:xfrm>
          <a:custGeom>
            <a:avLst/>
            <a:gdLst>
              <a:gd name="T0" fmla="*/ 87 w 203"/>
              <a:gd name="T1" fmla="*/ 62 h 64"/>
              <a:gd name="T2" fmla="*/ 67 w 203"/>
              <a:gd name="T3" fmla="*/ 54 h 64"/>
              <a:gd name="T4" fmla="*/ 34 w 203"/>
              <a:gd name="T5" fmla="*/ 42 h 64"/>
              <a:gd name="T6" fmla="*/ 18 w 203"/>
              <a:gd name="T7" fmla="*/ 11 h 64"/>
              <a:gd name="T8" fmla="*/ 55 w 203"/>
              <a:gd name="T9" fmla="*/ 1 h 64"/>
              <a:gd name="T10" fmla="*/ 166 w 203"/>
              <a:gd name="T11" fmla="*/ 15 h 64"/>
              <a:gd name="T12" fmla="*/ 203 w 203"/>
              <a:gd name="T13" fmla="*/ 40 h 64"/>
              <a:gd name="T14" fmla="*/ 157 w 203"/>
              <a:gd name="T15" fmla="*/ 60 h 64"/>
              <a:gd name="T16" fmla="*/ 87 w 203"/>
              <a:gd name="T17" fmla="*/ 6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64">
                <a:moveTo>
                  <a:pt x="87" y="62"/>
                </a:moveTo>
                <a:cubicBezTo>
                  <a:pt x="82" y="61"/>
                  <a:pt x="73" y="58"/>
                  <a:pt x="67" y="54"/>
                </a:cubicBezTo>
                <a:cubicBezTo>
                  <a:pt x="62" y="50"/>
                  <a:pt x="47" y="45"/>
                  <a:pt x="34" y="42"/>
                </a:cubicBezTo>
                <a:cubicBezTo>
                  <a:pt x="6" y="36"/>
                  <a:pt x="0" y="26"/>
                  <a:pt x="18" y="11"/>
                </a:cubicBezTo>
                <a:cubicBezTo>
                  <a:pt x="27" y="4"/>
                  <a:pt x="34" y="2"/>
                  <a:pt x="55" y="1"/>
                </a:cubicBezTo>
                <a:cubicBezTo>
                  <a:pt x="110" y="0"/>
                  <a:pt x="129" y="2"/>
                  <a:pt x="166" y="15"/>
                </a:cubicBezTo>
                <a:cubicBezTo>
                  <a:pt x="203" y="27"/>
                  <a:pt x="203" y="27"/>
                  <a:pt x="203" y="40"/>
                </a:cubicBezTo>
                <a:cubicBezTo>
                  <a:pt x="203" y="55"/>
                  <a:pt x="202" y="56"/>
                  <a:pt x="157" y="60"/>
                </a:cubicBezTo>
                <a:cubicBezTo>
                  <a:pt x="109" y="64"/>
                  <a:pt x="98" y="64"/>
                  <a:pt x="87" y="62"/>
                </a:cubicBezTo>
                <a:close/>
              </a:path>
            </a:pathLst>
          </a:custGeom>
          <a:solidFill>
            <a:srgbClr val="D3D3D3"/>
          </a:solidFill>
          <a:ln w="22225" cap="flat">
            <a:solidFill>
              <a:srgbClr val="D3D3D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65" name="Freeform 59"/>
          <p:cNvSpPr>
            <a:spLocks/>
          </p:cNvSpPr>
          <p:nvPr userDrawn="1"/>
        </p:nvSpPr>
        <p:spPr bwMode="grayWhite">
          <a:xfrm>
            <a:off x="2042482" y="-482711"/>
            <a:ext cx="985839" cy="1806576"/>
          </a:xfrm>
          <a:custGeom>
            <a:avLst/>
            <a:gdLst>
              <a:gd name="T0" fmla="*/ 568 w 686"/>
              <a:gd name="T1" fmla="*/ 1250 h 1257"/>
              <a:gd name="T2" fmla="*/ 534 w 686"/>
              <a:gd name="T3" fmla="*/ 1246 h 1257"/>
              <a:gd name="T4" fmla="*/ 492 w 686"/>
              <a:gd name="T5" fmla="*/ 1242 h 1257"/>
              <a:gd name="T6" fmla="*/ 456 w 686"/>
              <a:gd name="T7" fmla="*/ 1238 h 1257"/>
              <a:gd name="T8" fmla="*/ 420 w 686"/>
              <a:gd name="T9" fmla="*/ 1234 h 1257"/>
              <a:gd name="T10" fmla="*/ 384 w 686"/>
              <a:gd name="T11" fmla="*/ 1230 h 1257"/>
              <a:gd name="T12" fmla="*/ 260 w 686"/>
              <a:gd name="T13" fmla="*/ 1205 h 1257"/>
              <a:gd name="T14" fmla="*/ 156 w 686"/>
              <a:gd name="T15" fmla="*/ 1182 h 1257"/>
              <a:gd name="T16" fmla="*/ 104 w 686"/>
              <a:gd name="T17" fmla="*/ 1170 h 1257"/>
              <a:gd name="T18" fmla="*/ 70 w 686"/>
              <a:gd name="T19" fmla="*/ 1162 h 1257"/>
              <a:gd name="T20" fmla="*/ 31 w 686"/>
              <a:gd name="T21" fmla="*/ 1154 h 1257"/>
              <a:gd name="T22" fmla="*/ 2 w 686"/>
              <a:gd name="T23" fmla="*/ 1140 h 1257"/>
              <a:gd name="T24" fmla="*/ 38 w 686"/>
              <a:gd name="T25" fmla="*/ 992 h 1257"/>
              <a:gd name="T26" fmla="*/ 52 w 686"/>
              <a:gd name="T27" fmla="*/ 934 h 1257"/>
              <a:gd name="T28" fmla="*/ 79 w 686"/>
              <a:gd name="T29" fmla="*/ 822 h 1257"/>
              <a:gd name="T30" fmla="*/ 113 w 686"/>
              <a:gd name="T31" fmla="*/ 680 h 1257"/>
              <a:gd name="T32" fmla="*/ 134 w 686"/>
              <a:gd name="T33" fmla="*/ 590 h 1257"/>
              <a:gd name="T34" fmla="*/ 148 w 686"/>
              <a:gd name="T35" fmla="*/ 532 h 1257"/>
              <a:gd name="T36" fmla="*/ 178 w 686"/>
              <a:gd name="T37" fmla="*/ 406 h 1257"/>
              <a:gd name="T38" fmla="*/ 210 w 686"/>
              <a:gd name="T39" fmla="*/ 274 h 1257"/>
              <a:gd name="T40" fmla="*/ 238 w 686"/>
              <a:gd name="T41" fmla="*/ 157 h 1257"/>
              <a:gd name="T42" fmla="*/ 253 w 686"/>
              <a:gd name="T43" fmla="*/ 96 h 1257"/>
              <a:gd name="T44" fmla="*/ 273 w 686"/>
              <a:gd name="T45" fmla="*/ 98 h 1257"/>
              <a:gd name="T46" fmla="*/ 314 w 686"/>
              <a:gd name="T47" fmla="*/ 103 h 1257"/>
              <a:gd name="T48" fmla="*/ 364 w 686"/>
              <a:gd name="T49" fmla="*/ 102 h 1257"/>
              <a:gd name="T50" fmla="*/ 420 w 686"/>
              <a:gd name="T51" fmla="*/ 109 h 1257"/>
              <a:gd name="T52" fmla="*/ 452 w 686"/>
              <a:gd name="T53" fmla="*/ 112 h 1257"/>
              <a:gd name="T54" fmla="*/ 346 w 686"/>
              <a:gd name="T55" fmla="*/ 60 h 1257"/>
              <a:gd name="T56" fmla="*/ 321 w 686"/>
              <a:gd name="T57" fmla="*/ 56 h 1257"/>
              <a:gd name="T58" fmla="*/ 304 w 686"/>
              <a:gd name="T59" fmla="*/ 48 h 1257"/>
              <a:gd name="T60" fmla="*/ 272 w 686"/>
              <a:gd name="T61" fmla="*/ 44 h 1257"/>
              <a:gd name="T62" fmla="*/ 268 w 686"/>
              <a:gd name="T63" fmla="*/ 20 h 1257"/>
              <a:gd name="T64" fmla="*/ 279 w 686"/>
              <a:gd name="T65" fmla="*/ 1 h 1257"/>
              <a:gd name="T66" fmla="*/ 340 w 686"/>
              <a:gd name="T67" fmla="*/ 14 h 1257"/>
              <a:gd name="T68" fmla="*/ 358 w 686"/>
              <a:gd name="T69" fmla="*/ 17 h 1257"/>
              <a:gd name="T70" fmla="*/ 548 w 686"/>
              <a:gd name="T71" fmla="*/ 54 h 1257"/>
              <a:gd name="T72" fmla="*/ 606 w 686"/>
              <a:gd name="T73" fmla="*/ 65 h 1257"/>
              <a:gd name="T74" fmla="*/ 670 w 686"/>
              <a:gd name="T75" fmla="*/ 77 h 1257"/>
              <a:gd name="T76" fmla="*/ 686 w 686"/>
              <a:gd name="T77" fmla="*/ 92 h 1257"/>
              <a:gd name="T78" fmla="*/ 675 w 686"/>
              <a:gd name="T79" fmla="*/ 180 h 1257"/>
              <a:gd name="T80" fmla="*/ 662 w 686"/>
              <a:gd name="T81" fmla="*/ 274 h 1257"/>
              <a:gd name="T82" fmla="*/ 648 w 686"/>
              <a:gd name="T83" fmla="*/ 304 h 1257"/>
              <a:gd name="T84" fmla="*/ 612 w 686"/>
              <a:gd name="T85" fmla="*/ 343 h 1257"/>
              <a:gd name="T86" fmla="*/ 612 w 686"/>
              <a:gd name="T87" fmla="*/ 368 h 1257"/>
              <a:gd name="T88" fmla="*/ 605 w 686"/>
              <a:gd name="T89" fmla="*/ 424 h 1257"/>
              <a:gd name="T90" fmla="*/ 596 w 686"/>
              <a:gd name="T91" fmla="*/ 443 h 1257"/>
              <a:gd name="T92" fmla="*/ 612 w 686"/>
              <a:gd name="T93" fmla="*/ 438 h 1257"/>
              <a:gd name="T94" fmla="*/ 631 w 686"/>
              <a:gd name="T95" fmla="*/ 428 h 1257"/>
              <a:gd name="T96" fmla="*/ 630 w 686"/>
              <a:gd name="T97" fmla="*/ 520 h 1257"/>
              <a:gd name="T98" fmla="*/ 626 w 686"/>
              <a:gd name="T99" fmla="*/ 578 h 1257"/>
              <a:gd name="T100" fmla="*/ 622 w 686"/>
              <a:gd name="T101" fmla="*/ 632 h 1257"/>
              <a:gd name="T102" fmla="*/ 618 w 686"/>
              <a:gd name="T103" fmla="*/ 690 h 1257"/>
              <a:gd name="T104" fmla="*/ 614 w 686"/>
              <a:gd name="T105" fmla="*/ 744 h 1257"/>
              <a:gd name="T106" fmla="*/ 610 w 686"/>
              <a:gd name="T107" fmla="*/ 802 h 1257"/>
              <a:gd name="T108" fmla="*/ 606 w 686"/>
              <a:gd name="T109" fmla="*/ 856 h 1257"/>
              <a:gd name="T110" fmla="*/ 602 w 686"/>
              <a:gd name="T111" fmla="*/ 914 h 1257"/>
              <a:gd name="T112" fmla="*/ 598 w 686"/>
              <a:gd name="T113" fmla="*/ 968 h 1257"/>
              <a:gd name="T114" fmla="*/ 594 w 686"/>
              <a:gd name="T115" fmla="*/ 1024 h 1257"/>
              <a:gd name="T116" fmla="*/ 590 w 686"/>
              <a:gd name="T117" fmla="*/ 1080 h 1257"/>
              <a:gd name="T118" fmla="*/ 586 w 686"/>
              <a:gd name="T119" fmla="*/ 1136 h 1257"/>
              <a:gd name="T120" fmla="*/ 582 w 686"/>
              <a:gd name="T121" fmla="*/ 1193 h 1257"/>
              <a:gd name="T122" fmla="*/ 580 w 686"/>
              <a:gd name="T123" fmla="*/ 1226 h 1257"/>
              <a:gd name="T124" fmla="*/ 568 w 686"/>
              <a:gd name="T125" fmla="*/ 1250 h 1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86" h="1257">
                <a:moveTo>
                  <a:pt x="568" y="1250"/>
                </a:moveTo>
                <a:cubicBezTo>
                  <a:pt x="567" y="1249"/>
                  <a:pt x="552" y="1247"/>
                  <a:pt x="534" y="1246"/>
                </a:cubicBezTo>
                <a:cubicBezTo>
                  <a:pt x="517" y="1244"/>
                  <a:pt x="498" y="1242"/>
                  <a:pt x="492" y="1242"/>
                </a:cubicBezTo>
                <a:cubicBezTo>
                  <a:pt x="487" y="1241"/>
                  <a:pt x="470" y="1239"/>
                  <a:pt x="456" y="1238"/>
                </a:cubicBezTo>
                <a:cubicBezTo>
                  <a:pt x="442" y="1236"/>
                  <a:pt x="426" y="1234"/>
                  <a:pt x="420" y="1234"/>
                </a:cubicBezTo>
                <a:cubicBezTo>
                  <a:pt x="415" y="1233"/>
                  <a:pt x="398" y="1231"/>
                  <a:pt x="384" y="1230"/>
                </a:cubicBezTo>
                <a:cubicBezTo>
                  <a:pt x="370" y="1228"/>
                  <a:pt x="314" y="1217"/>
                  <a:pt x="260" y="1205"/>
                </a:cubicBezTo>
                <a:cubicBezTo>
                  <a:pt x="206" y="1193"/>
                  <a:pt x="159" y="1182"/>
                  <a:pt x="156" y="1182"/>
                </a:cubicBezTo>
                <a:cubicBezTo>
                  <a:pt x="138" y="1178"/>
                  <a:pt x="128" y="1175"/>
                  <a:pt x="104" y="1170"/>
                </a:cubicBezTo>
                <a:cubicBezTo>
                  <a:pt x="90" y="1166"/>
                  <a:pt x="75" y="1163"/>
                  <a:pt x="70" y="1162"/>
                </a:cubicBezTo>
                <a:cubicBezTo>
                  <a:pt x="66" y="1162"/>
                  <a:pt x="48" y="1158"/>
                  <a:pt x="31" y="1154"/>
                </a:cubicBezTo>
                <a:cubicBezTo>
                  <a:pt x="6" y="1148"/>
                  <a:pt x="0" y="1145"/>
                  <a:pt x="2" y="1140"/>
                </a:cubicBezTo>
                <a:cubicBezTo>
                  <a:pt x="4" y="1134"/>
                  <a:pt x="35" y="1005"/>
                  <a:pt x="38" y="992"/>
                </a:cubicBezTo>
                <a:cubicBezTo>
                  <a:pt x="39" y="988"/>
                  <a:pt x="45" y="962"/>
                  <a:pt x="52" y="934"/>
                </a:cubicBezTo>
                <a:cubicBezTo>
                  <a:pt x="59" y="905"/>
                  <a:pt x="71" y="855"/>
                  <a:pt x="79" y="822"/>
                </a:cubicBezTo>
                <a:cubicBezTo>
                  <a:pt x="87" y="789"/>
                  <a:pt x="102" y="725"/>
                  <a:pt x="113" y="680"/>
                </a:cubicBezTo>
                <a:cubicBezTo>
                  <a:pt x="124" y="634"/>
                  <a:pt x="134" y="594"/>
                  <a:pt x="134" y="590"/>
                </a:cubicBezTo>
                <a:cubicBezTo>
                  <a:pt x="135" y="585"/>
                  <a:pt x="141" y="559"/>
                  <a:pt x="148" y="532"/>
                </a:cubicBezTo>
                <a:cubicBezTo>
                  <a:pt x="155" y="504"/>
                  <a:pt x="168" y="447"/>
                  <a:pt x="178" y="406"/>
                </a:cubicBezTo>
                <a:cubicBezTo>
                  <a:pt x="188" y="364"/>
                  <a:pt x="203" y="304"/>
                  <a:pt x="210" y="274"/>
                </a:cubicBezTo>
                <a:cubicBezTo>
                  <a:pt x="217" y="243"/>
                  <a:pt x="230" y="190"/>
                  <a:pt x="238" y="157"/>
                </a:cubicBezTo>
                <a:cubicBezTo>
                  <a:pt x="253" y="96"/>
                  <a:pt x="253" y="96"/>
                  <a:pt x="253" y="96"/>
                </a:cubicBezTo>
                <a:cubicBezTo>
                  <a:pt x="273" y="98"/>
                  <a:pt x="273" y="98"/>
                  <a:pt x="273" y="98"/>
                </a:cubicBezTo>
                <a:cubicBezTo>
                  <a:pt x="285" y="99"/>
                  <a:pt x="303" y="101"/>
                  <a:pt x="314" y="103"/>
                </a:cubicBezTo>
                <a:cubicBezTo>
                  <a:pt x="325" y="104"/>
                  <a:pt x="347" y="104"/>
                  <a:pt x="364" y="102"/>
                </a:cubicBezTo>
                <a:cubicBezTo>
                  <a:pt x="394" y="98"/>
                  <a:pt x="397" y="99"/>
                  <a:pt x="420" y="109"/>
                </a:cubicBezTo>
                <a:cubicBezTo>
                  <a:pt x="443" y="119"/>
                  <a:pt x="452" y="120"/>
                  <a:pt x="452" y="112"/>
                </a:cubicBezTo>
                <a:cubicBezTo>
                  <a:pt x="452" y="107"/>
                  <a:pt x="367" y="66"/>
                  <a:pt x="346" y="60"/>
                </a:cubicBezTo>
                <a:cubicBezTo>
                  <a:pt x="337" y="58"/>
                  <a:pt x="326" y="56"/>
                  <a:pt x="321" y="56"/>
                </a:cubicBezTo>
                <a:cubicBezTo>
                  <a:pt x="316" y="56"/>
                  <a:pt x="309" y="52"/>
                  <a:pt x="304" y="48"/>
                </a:cubicBezTo>
                <a:cubicBezTo>
                  <a:pt x="295" y="39"/>
                  <a:pt x="284" y="37"/>
                  <a:pt x="272" y="44"/>
                </a:cubicBezTo>
                <a:cubicBezTo>
                  <a:pt x="263" y="49"/>
                  <a:pt x="263" y="47"/>
                  <a:pt x="268" y="20"/>
                </a:cubicBezTo>
                <a:cubicBezTo>
                  <a:pt x="272" y="4"/>
                  <a:pt x="274" y="0"/>
                  <a:pt x="279" y="1"/>
                </a:cubicBezTo>
                <a:cubicBezTo>
                  <a:pt x="285" y="3"/>
                  <a:pt x="314" y="9"/>
                  <a:pt x="340" y="14"/>
                </a:cubicBezTo>
                <a:cubicBezTo>
                  <a:pt x="346" y="15"/>
                  <a:pt x="354" y="16"/>
                  <a:pt x="358" y="17"/>
                </a:cubicBezTo>
                <a:cubicBezTo>
                  <a:pt x="371" y="20"/>
                  <a:pt x="537" y="52"/>
                  <a:pt x="548" y="54"/>
                </a:cubicBezTo>
                <a:cubicBezTo>
                  <a:pt x="554" y="55"/>
                  <a:pt x="580" y="60"/>
                  <a:pt x="606" y="65"/>
                </a:cubicBezTo>
                <a:cubicBezTo>
                  <a:pt x="633" y="71"/>
                  <a:pt x="661" y="76"/>
                  <a:pt x="670" y="77"/>
                </a:cubicBezTo>
                <a:cubicBezTo>
                  <a:pt x="686" y="78"/>
                  <a:pt x="686" y="79"/>
                  <a:pt x="686" y="92"/>
                </a:cubicBezTo>
                <a:cubicBezTo>
                  <a:pt x="685" y="99"/>
                  <a:pt x="680" y="139"/>
                  <a:pt x="675" y="180"/>
                </a:cubicBezTo>
                <a:cubicBezTo>
                  <a:pt x="669" y="220"/>
                  <a:pt x="663" y="263"/>
                  <a:pt x="662" y="274"/>
                </a:cubicBezTo>
                <a:cubicBezTo>
                  <a:pt x="659" y="293"/>
                  <a:pt x="654" y="304"/>
                  <a:pt x="648" y="304"/>
                </a:cubicBezTo>
                <a:cubicBezTo>
                  <a:pt x="642" y="304"/>
                  <a:pt x="618" y="330"/>
                  <a:pt x="612" y="343"/>
                </a:cubicBezTo>
                <a:cubicBezTo>
                  <a:pt x="609" y="352"/>
                  <a:pt x="608" y="359"/>
                  <a:pt x="612" y="368"/>
                </a:cubicBezTo>
                <a:cubicBezTo>
                  <a:pt x="620" y="397"/>
                  <a:pt x="619" y="410"/>
                  <a:pt x="605" y="424"/>
                </a:cubicBezTo>
                <a:cubicBezTo>
                  <a:pt x="596" y="434"/>
                  <a:pt x="594" y="439"/>
                  <a:pt x="596" y="443"/>
                </a:cubicBezTo>
                <a:cubicBezTo>
                  <a:pt x="599" y="448"/>
                  <a:pt x="602" y="447"/>
                  <a:pt x="612" y="438"/>
                </a:cubicBezTo>
                <a:cubicBezTo>
                  <a:pt x="619" y="432"/>
                  <a:pt x="627" y="428"/>
                  <a:pt x="631" y="428"/>
                </a:cubicBezTo>
                <a:cubicBezTo>
                  <a:pt x="637" y="428"/>
                  <a:pt x="637" y="440"/>
                  <a:pt x="630" y="520"/>
                </a:cubicBezTo>
                <a:cubicBezTo>
                  <a:pt x="629" y="532"/>
                  <a:pt x="627" y="558"/>
                  <a:pt x="626" y="578"/>
                </a:cubicBezTo>
                <a:cubicBezTo>
                  <a:pt x="625" y="597"/>
                  <a:pt x="623" y="622"/>
                  <a:pt x="622" y="632"/>
                </a:cubicBezTo>
                <a:cubicBezTo>
                  <a:pt x="621" y="641"/>
                  <a:pt x="619" y="668"/>
                  <a:pt x="618" y="690"/>
                </a:cubicBezTo>
                <a:cubicBezTo>
                  <a:pt x="617" y="712"/>
                  <a:pt x="615" y="736"/>
                  <a:pt x="614" y="744"/>
                </a:cubicBezTo>
                <a:cubicBezTo>
                  <a:pt x="613" y="751"/>
                  <a:pt x="611" y="777"/>
                  <a:pt x="610" y="802"/>
                </a:cubicBezTo>
                <a:cubicBezTo>
                  <a:pt x="609" y="826"/>
                  <a:pt x="607" y="850"/>
                  <a:pt x="606" y="856"/>
                </a:cubicBezTo>
                <a:cubicBezTo>
                  <a:pt x="605" y="861"/>
                  <a:pt x="603" y="887"/>
                  <a:pt x="602" y="914"/>
                </a:cubicBezTo>
                <a:cubicBezTo>
                  <a:pt x="600" y="940"/>
                  <a:pt x="599" y="964"/>
                  <a:pt x="598" y="968"/>
                </a:cubicBezTo>
                <a:cubicBezTo>
                  <a:pt x="598" y="971"/>
                  <a:pt x="596" y="996"/>
                  <a:pt x="594" y="1024"/>
                </a:cubicBezTo>
                <a:cubicBezTo>
                  <a:pt x="593" y="1051"/>
                  <a:pt x="591" y="1076"/>
                  <a:pt x="590" y="1080"/>
                </a:cubicBezTo>
                <a:cubicBezTo>
                  <a:pt x="590" y="1083"/>
                  <a:pt x="588" y="1108"/>
                  <a:pt x="586" y="1136"/>
                </a:cubicBezTo>
                <a:cubicBezTo>
                  <a:pt x="585" y="1163"/>
                  <a:pt x="583" y="1189"/>
                  <a:pt x="582" y="1193"/>
                </a:cubicBezTo>
                <a:cubicBezTo>
                  <a:pt x="581" y="1197"/>
                  <a:pt x="580" y="1211"/>
                  <a:pt x="580" y="1226"/>
                </a:cubicBezTo>
                <a:cubicBezTo>
                  <a:pt x="579" y="1249"/>
                  <a:pt x="575" y="1257"/>
                  <a:pt x="568" y="1250"/>
                </a:cubicBezTo>
                <a:close/>
              </a:path>
            </a:pathLst>
          </a:custGeom>
          <a:solidFill>
            <a:srgbClr val="D3D3D3"/>
          </a:solidFill>
          <a:ln w="22225" cap="flat">
            <a:solidFill>
              <a:srgbClr val="D3D3D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66" name="Freeform 60"/>
          <p:cNvSpPr>
            <a:spLocks/>
          </p:cNvSpPr>
          <p:nvPr userDrawn="1"/>
        </p:nvSpPr>
        <p:spPr bwMode="grayWhite">
          <a:xfrm>
            <a:off x="293056" y="-2825860"/>
            <a:ext cx="1090613" cy="1974851"/>
          </a:xfrm>
          <a:custGeom>
            <a:avLst/>
            <a:gdLst>
              <a:gd name="T0" fmla="*/ 746 w 758"/>
              <a:gd name="T1" fmla="*/ 1370 h 1375"/>
              <a:gd name="T2" fmla="*/ 708 w 758"/>
              <a:gd name="T3" fmla="*/ 1352 h 1375"/>
              <a:gd name="T4" fmla="*/ 453 w 758"/>
              <a:gd name="T5" fmla="*/ 1219 h 1375"/>
              <a:gd name="T6" fmla="*/ 119 w 758"/>
              <a:gd name="T7" fmla="*/ 1012 h 1375"/>
              <a:gd name="T8" fmla="*/ 56 w 758"/>
              <a:gd name="T9" fmla="*/ 963 h 1375"/>
              <a:gd name="T10" fmla="*/ 81 w 758"/>
              <a:gd name="T11" fmla="*/ 923 h 1375"/>
              <a:gd name="T12" fmla="*/ 46 w 758"/>
              <a:gd name="T13" fmla="*/ 892 h 1375"/>
              <a:gd name="T14" fmla="*/ 31 w 758"/>
              <a:gd name="T15" fmla="*/ 883 h 1375"/>
              <a:gd name="T16" fmla="*/ 25 w 758"/>
              <a:gd name="T17" fmla="*/ 876 h 1375"/>
              <a:gd name="T18" fmla="*/ 2 w 758"/>
              <a:gd name="T19" fmla="*/ 863 h 1375"/>
              <a:gd name="T20" fmla="*/ 39 w 758"/>
              <a:gd name="T21" fmla="*/ 796 h 1375"/>
              <a:gd name="T22" fmla="*/ 275 w 758"/>
              <a:gd name="T23" fmla="*/ 448 h 1375"/>
              <a:gd name="T24" fmla="*/ 528 w 758"/>
              <a:gd name="T25" fmla="*/ 73 h 1375"/>
              <a:gd name="T26" fmla="*/ 577 w 758"/>
              <a:gd name="T27" fmla="*/ 0 h 1375"/>
              <a:gd name="T28" fmla="*/ 589 w 758"/>
              <a:gd name="T29" fmla="*/ 5 h 1375"/>
              <a:gd name="T30" fmla="*/ 626 w 758"/>
              <a:gd name="T31" fmla="*/ 48 h 1375"/>
              <a:gd name="T32" fmla="*/ 638 w 758"/>
              <a:gd name="T33" fmla="*/ 90 h 1375"/>
              <a:gd name="T34" fmla="*/ 650 w 758"/>
              <a:gd name="T35" fmla="*/ 124 h 1375"/>
              <a:gd name="T36" fmla="*/ 669 w 758"/>
              <a:gd name="T37" fmla="*/ 153 h 1375"/>
              <a:gd name="T38" fmla="*/ 679 w 758"/>
              <a:gd name="T39" fmla="*/ 175 h 1375"/>
              <a:gd name="T40" fmla="*/ 621 w 758"/>
              <a:gd name="T41" fmla="*/ 270 h 1375"/>
              <a:gd name="T42" fmla="*/ 606 w 758"/>
              <a:gd name="T43" fmla="*/ 308 h 1375"/>
              <a:gd name="T44" fmla="*/ 590 w 758"/>
              <a:gd name="T45" fmla="*/ 348 h 1375"/>
              <a:gd name="T46" fmla="*/ 614 w 758"/>
              <a:gd name="T47" fmla="*/ 412 h 1375"/>
              <a:gd name="T48" fmla="*/ 652 w 758"/>
              <a:gd name="T49" fmla="*/ 450 h 1375"/>
              <a:gd name="T50" fmla="*/ 638 w 758"/>
              <a:gd name="T51" fmla="*/ 487 h 1375"/>
              <a:gd name="T52" fmla="*/ 621 w 758"/>
              <a:gd name="T53" fmla="*/ 536 h 1375"/>
              <a:gd name="T54" fmla="*/ 634 w 758"/>
              <a:gd name="T55" fmla="*/ 569 h 1375"/>
              <a:gd name="T56" fmla="*/ 644 w 758"/>
              <a:gd name="T57" fmla="*/ 624 h 1375"/>
              <a:gd name="T58" fmla="*/ 632 w 758"/>
              <a:gd name="T59" fmla="*/ 629 h 1375"/>
              <a:gd name="T60" fmla="*/ 608 w 758"/>
              <a:gd name="T61" fmla="*/ 659 h 1375"/>
              <a:gd name="T62" fmla="*/ 600 w 758"/>
              <a:gd name="T63" fmla="*/ 681 h 1375"/>
              <a:gd name="T64" fmla="*/ 606 w 758"/>
              <a:gd name="T65" fmla="*/ 719 h 1375"/>
              <a:gd name="T66" fmla="*/ 610 w 758"/>
              <a:gd name="T67" fmla="*/ 740 h 1375"/>
              <a:gd name="T68" fmla="*/ 617 w 758"/>
              <a:gd name="T69" fmla="*/ 769 h 1375"/>
              <a:gd name="T70" fmla="*/ 626 w 758"/>
              <a:gd name="T71" fmla="*/ 803 h 1375"/>
              <a:gd name="T72" fmla="*/ 634 w 758"/>
              <a:gd name="T73" fmla="*/ 839 h 1375"/>
              <a:gd name="T74" fmla="*/ 633 w 758"/>
              <a:gd name="T75" fmla="*/ 881 h 1375"/>
              <a:gd name="T76" fmla="*/ 614 w 758"/>
              <a:gd name="T77" fmla="*/ 984 h 1375"/>
              <a:gd name="T78" fmla="*/ 608 w 758"/>
              <a:gd name="T79" fmla="*/ 1027 h 1375"/>
              <a:gd name="T80" fmla="*/ 613 w 758"/>
              <a:gd name="T81" fmla="*/ 1051 h 1375"/>
              <a:gd name="T82" fmla="*/ 638 w 758"/>
              <a:gd name="T83" fmla="*/ 1104 h 1375"/>
              <a:gd name="T84" fmla="*/ 656 w 758"/>
              <a:gd name="T85" fmla="*/ 1150 h 1375"/>
              <a:gd name="T86" fmla="*/ 662 w 758"/>
              <a:gd name="T87" fmla="*/ 1173 h 1375"/>
              <a:gd name="T88" fmla="*/ 655 w 758"/>
              <a:gd name="T89" fmla="*/ 1194 h 1375"/>
              <a:gd name="T90" fmla="*/ 650 w 758"/>
              <a:gd name="T91" fmla="*/ 1225 h 1375"/>
              <a:gd name="T92" fmla="*/ 684 w 758"/>
              <a:gd name="T93" fmla="*/ 1258 h 1375"/>
              <a:gd name="T94" fmla="*/ 722 w 758"/>
              <a:gd name="T95" fmla="*/ 1279 h 1375"/>
              <a:gd name="T96" fmla="*/ 748 w 758"/>
              <a:gd name="T97" fmla="*/ 1289 h 1375"/>
              <a:gd name="T98" fmla="*/ 758 w 758"/>
              <a:gd name="T99" fmla="*/ 1290 h 1375"/>
              <a:gd name="T100" fmla="*/ 757 w 758"/>
              <a:gd name="T101" fmla="*/ 1331 h 1375"/>
              <a:gd name="T102" fmla="*/ 755 w 758"/>
              <a:gd name="T103" fmla="*/ 1374 h 1375"/>
              <a:gd name="T104" fmla="*/ 746 w 758"/>
              <a:gd name="T105" fmla="*/ 1370 h 1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58" h="1375">
                <a:moveTo>
                  <a:pt x="746" y="1370"/>
                </a:moveTo>
                <a:cubicBezTo>
                  <a:pt x="742" y="1367"/>
                  <a:pt x="725" y="1359"/>
                  <a:pt x="708" y="1352"/>
                </a:cubicBezTo>
                <a:cubicBezTo>
                  <a:pt x="683" y="1340"/>
                  <a:pt x="596" y="1295"/>
                  <a:pt x="453" y="1219"/>
                </a:cubicBezTo>
                <a:cubicBezTo>
                  <a:pt x="408" y="1195"/>
                  <a:pt x="242" y="1092"/>
                  <a:pt x="119" y="1012"/>
                </a:cubicBezTo>
                <a:cubicBezTo>
                  <a:pt x="76" y="983"/>
                  <a:pt x="56" y="968"/>
                  <a:pt x="56" y="963"/>
                </a:cubicBezTo>
                <a:cubicBezTo>
                  <a:pt x="56" y="953"/>
                  <a:pt x="68" y="934"/>
                  <a:pt x="81" y="923"/>
                </a:cubicBezTo>
                <a:cubicBezTo>
                  <a:pt x="105" y="905"/>
                  <a:pt x="91" y="893"/>
                  <a:pt x="46" y="892"/>
                </a:cubicBezTo>
                <a:cubicBezTo>
                  <a:pt x="37" y="892"/>
                  <a:pt x="32" y="889"/>
                  <a:pt x="31" y="883"/>
                </a:cubicBezTo>
                <a:cubicBezTo>
                  <a:pt x="30" y="879"/>
                  <a:pt x="27" y="876"/>
                  <a:pt x="25" y="876"/>
                </a:cubicBezTo>
                <a:cubicBezTo>
                  <a:pt x="18" y="878"/>
                  <a:pt x="4" y="871"/>
                  <a:pt x="2" y="863"/>
                </a:cubicBezTo>
                <a:cubicBezTo>
                  <a:pt x="0" y="857"/>
                  <a:pt x="10" y="840"/>
                  <a:pt x="39" y="796"/>
                </a:cubicBezTo>
                <a:cubicBezTo>
                  <a:pt x="94" y="715"/>
                  <a:pt x="196" y="564"/>
                  <a:pt x="275" y="448"/>
                </a:cubicBezTo>
                <a:cubicBezTo>
                  <a:pt x="337" y="355"/>
                  <a:pt x="418" y="235"/>
                  <a:pt x="528" y="73"/>
                </a:cubicBezTo>
                <a:cubicBezTo>
                  <a:pt x="577" y="0"/>
                  <a:pt x="577" y="0"/>
                  <a:pt x="577" y="0"/>
                </a:cubicBezTo>
                <a:cubicBezTo>
                  <a:pt x="589" y="5"/>
                  <a:pt x="589" y="5"/>
                  <a:pt x="589" y="5"/>
                </a:cubicBezTo>
                <a:cubicBezTo>
                  <a:pt x="616" y="14"/>
                  <a:pt x="623" y="23"/>
                  <a:pt x="626" y="48"/>
                </a:cubicBezTo>
                <a:cubicBezTo>
                  <a:pt x="628" y="61"/>
                  <a:pt x="633" y="80"/>
                  <a:pt x="638" y="90"/>
                </a:cubicBezTo>
                <a:cubicBezTo>
                  <a:pt x="643" y="100"/>
                  <a:pt x="649" y="116"/>
                  <a:pt x="650" y="124"/>
                </a:cubicBezTo>
                <a:cubicBezTo>
                  <a:pt x="652" y="135"/>
                  <a:pt x="657" y="143"/>
                  <a:pt x="669" y="153"/>
                </a:cubicBezTo>
                <a:cubicBezTo>
                  <a:pt x="684" y="166"/>
                  <a:pt x="685" y="168"/>
                  <a:pt x="679" y="175"/>
                </a:cubicBezTo>
                <a:cubicBezTo>
                  <a:pt x="671" y="184"/>
                  <a:pt x="631" y="250"/>
                  <a:pt x="621" y="270"/>
                </a:cubicBezTo>
                <a:cubicBezTo>
                  <a:pt x="617" y="278"/>
                  <a:pt x="610" y="295"/>
                  <a:pt x="606" y="308"/>
                </a:cubicBezTo>
                <a:cubicBezTo>
                  <a:pt x="602" y="320"/>
                  <a:pt x="595" y="338"/>
                  <a:pt x="590" y="348"/>
                </a:cubicBezTo>
                <a:cubicBezTo>
                  <a:pt x="573" y="383"/>
                  <a:pt x="572" y="380"/>
                  <a:pt x="614" y="412"/>
                </a:cubicBezTo>
                <a:cubicBezTo>
                  <a:pt x="643" y="434"/>
                  <a:pt x="652" y="443"/>
                  <a:pt x="652" y="450"/>
                </a:cubicBezTo>
                <a:cubicBezTo>
                  <a:pt x="652" y="455"/>
                  <a:pt x="646" y="471"/>
                  <a:pt x="638" y="487"/>
                </a:cubicBezTo>
                <a:cubicBezTo>
                  <a:pt x="628" y="504"/>
                  <a:pt x="623" y="522"/>
                  <a:pt x="621" y="536"/>
                </a:cubicBezTo>
                <a:cubicBezTo>
                  <a:pt x="619" y="558"/>
                  <a:pt x="620" y="558"/>
                  <a:pt x="634" y="569"/>
                </a:cubicBezTo>
                <a:cubicBezTo>
                  <a:pt x="650" y="581"/>
                  <a:pt x="649" y="578"/>
                  <a:pt x="644" y="624"/>
                </a:cubicBezTo>
                <a:cubicBezTo>
                  <a:pt x="644" y="626"/>
                  <a:pt x="639" y="628"/>
                  <a:pt x="632" y="629"/>
                </a:cubicBezTo>
                <a:cubicBezTo>
                  <a:pt x="620" y="632"/>
                  <a:pt x="608" y="646"/>
                  <a:pt x="608" y="659"/>
                </a:cubicBezTo>
                <a:cubicBezTo>
                  <a:pt x="608" y="664"/>
                  <a:pt x="604" y="673"/>
                  <a:pt x="600" y="681"/>
                </a:cubicBezTo>
                <a:cubicBezTo>
                  <a:pt x="591" y="696"/>
                  <a:pt x="593" y="709"/>
                  <a:pt x="606" y="719"/>
                </a:cubicBezTo>
                <a:cubicBezTo>
                  <a:pt x="610" y="723"/>
                  <a:pt x="611" y="729"/>
                  <a:pt x="610" y="740"/>
                </a:cubicBezTo>
                <a:cubicBezTo>
                  <a:pt x="608" y="752"/>
                  <a:pt x="610" y="759"/>
                  <a:pt x="617" y="769"/>
                </a:cubicBezTo>
                <a:cubicBezTo>
                  <a:pt x="623" y="778"/>
                  <a:pt x="626" y="787"/>
                  <a:pt x="626" y="803"/>
                </a:cubicBezTo>
                <a:cubicBezTo>
                  <a:pt x="627" y="816"/>
                  <a:pt x="630" y="832"/>
                  <a:pt x="634" y="839"/>
                </a:cubicBezTo>
                <a:cubicBezTo>
                  <a:pt x="641" y="852"/>
                  <a:pt x="641" y="854"/>
                  <a:pt x="633" y="881"/>
                </a:cubicBezTo>
                <a:cubicBezTo>
                  <a:pt x="622" y="917"/>
                  <a:pt x="617" y="946"/>
                  <a:pt x="614" y="984"/>
                </a:cubicBezTo>
                <a:cubicBezTo>
                  <a:pt x="613" y="1001"/>
                  <a:pt x="610" y="1020"/>
                  <a:pt x="608" y="1027"/>
                </a:cubicBezTo>
                <a:cubicBezTo>
                  <a:pt x="604" y="1039"/>
                  <a:pt x="604" y="1041"/>
                  <a:pt x="613" y="1051"/>
                </a:cubicBezTo>
                <a:cubicBezTo>
                  <a:pt x="627" y="1065"/>
                  <a:pt x="630" y="1073"/>
                  <a:pt x="638" y="1104"/>
                </a:cubicBezTo>
                <a:cubicBezTo>
                  <a:pt x="642" y="1118"/>
                  <a:pt x="650" y="1139"/>
                  <a:pt x="656" y="1150"/>
                </a:cubicBezTo>
                <a:cubicBezTo>
                  <a:pt x="664" y="1165"/>
                  <a:pt x="666" y="1172"/>
                  <a:pt x="662" y="1173"/>
                </a:cubicBezTo>
                <a:cubicBezTo>
                  <a:pt x="659" y="1174"/>
                  <a:pt x="656" y="1184"/>
                  <a:pt x="655" y="1194"/>
                </a:cubicBezTo>
                <a:cubicBezTo>
                  <a:pt x="654" y="1205"/>
                  <a:pt x="652" y="1219"/>
                  <a:pt x="650" y="1225"/>
                </a:cubicBezTo>
                <a:cubicBezTo>
                  <a:pt x="647" y="1238"/>
                  <a:pt x="652" y="1243"/>
                  <a:pt x="684" y="1258"/>
                </a:cubicBezTo>
                <a:cubicBezTo>
                  <a:pt x="696" y="1263"/>
                  <a:pt x="713" y="1273"/>
                  <a:pt x="722" y="1279"/>
                </a:cubicBezTo>
                <a:cubicBezTo>
                  <a:pt x="730" y="1284"/>
                  <a:pt x="742" y="1289"/>
                  <a:pt x="748" y="1289"/>
                </a:cubicBezTo>
                <a:cubicBezTo>
                  <a:pt x="758" y="1290"/>
                  <a:pt x="758" y="1290"/>
                  <a:pt x="758" y="1290"/>
                </a:cubicBezTo>
                <a:cubicBezTo>
                  <a:pt x="757" y="1331"/>
                  <a:pt x="757" y="1331"/>
                  <a:pt x="757" y="1331"/>
                </a:cubicBezTo>
                <a:cubicBezTo>
                  <a:pt x="756" y="1354"/>
                  <a:pt x="755" y="1374"/>
                  <a:pt x="755" y="1374"/>
                </a:cubicBezTo>
                <a:cubicBezTo>
                  <a:pt x="754" y="1375"/>
                  <a:pt x="750" y="1373"/>
                  <a:pt x="746" y="1370"/>
                </a:cubicBezTo>
                <a:close/>
              </a:path>
            </a:pathLst>
          </a:custGeom>
          <a:solidFill>
            <a:srgbClr val="D3D3D3"/>
          </a:solidFill>
          <a:ln w="22225" cap="flat">
            <a:solidFill>
              <a:srgbClr val="D3D3D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73" name="Freeform 67"/>
          <p:cNvSpPr>
            <a:spLocks/>
          </p:cNvSpPr>
          <p:nvPr userDrawn="1"/>
        </p:nvSpPr>
        <p:spPr bwMode="black">
          <a:xfrm>
            <a:off x="4209420" y="3533667"/>
            <a:ext cx="430213" cy="741363"/>
          </a:xfrm>
          <a:custGeom>
            <a:avLst/>
            <a:gdLst>
              <a:gd name="T0" fmla="*/ 31 w 299"/>
              <a:gd name="T1" fmla="*/ 509 h 516"/>
              <a:gd name="T2" fmla="*/ 14 w 299"/>
              <a:gd name="T3" fmla="*/ 506 h 516"/>
              <a:gd name="T4" fmla="*/ 0 w 299"/>
              <a:gd name="T5" fmla="*/ 509 h 516"/>
              <a:gd name="T6" fmla="*/ 2 w 299"/>
              <a:gd name="T7" fmla="*/ 357 h 516"/>
              <a:gd name="T8" fmla="*/ 6 w 299"/>
              <a:gd name="T9" fmla="*/ 188 h 516"/>
              <a:gd name="T10" fmla="*/ 11 w 299"/>
              <a:gd name="T11" fmla="*/ 136 h 516"/>
              <a:gd name="T12" fmla="*/ 15 w 299"/>
              <a:gd name="T13" fmla="*/ 95 h 516"/>
              <a:gd name="T14" fmla="*/ 19 w 299"/>
              <a:gd name="T15" fmla="*/ 53 h 516"/>
              <a:gd name="T16" fmla="*/ 23 w 299"/>
              <a:gd name="T17" fmla="*/ 12 h 516"/>
              <a:gd name="T18" fmla="*/ 40 w 299"/>
              <a:gd name="T19" fmla="*/ 5 h 516"/>
              <a:gd name="T20" fmla="*/ 138 w 299"/>
              <a:gd name="T21" fmla="*/ 2 h 516"/>
              <a:gd name="T22" fmla="*/ 221 w 299"/>
              <a:gd name="T23" fmla="*/ 0 h 516"/>
              <a:gd name="T24" fmla="*/ 225 w 299"/>
              <a:gd name="T25" fmla="*/ 15 h 516"/>
              <a:gd name="T26" fmla="*/ 233 w 299"/>
              <a:gd name="T27" fmla="*/ 50 h 516"/>
              <a:gd name="T28" fmla="*/ 246 w 299"/>
              <a:gd name="T29" fmla="*/ 94 h 516"/>
              <a:gd name="T30" fmla="*/ 263 w 299"/>
              <a:gd name="T31" fmla="*/ 191 h 516"/>
              <a:gd name="T32" fmla="*/ 277 w 299"/>
              <a:gd name="T33" fmla="*/ 233 h 516"/>
              <a:gd name="T34" fmla="*/ 288 w 299"/>
              <a:gd name="T35" fmla="*/ 324 h 516"/>
              <a:gd name="T36" fmla="*/ 297 w 299"/>
              <a:gd name="T37" fmla="*/ 401 h 516"/>
              <a:gd name="T38" fmla="*/ 298 w 299"/>
              <a:gd name="T39" fmla="*/ 417 h 516"/>
              <a:gd name="T40" fmla="*/ 241 w 299"/>
              <a:gd name="T41" fmla="*/ 419 h 516"/>
              <a:gd name="T42" fmla="*/ 133 w 299"/>
              <a:gd name="T43" fmla="*/ 422 h 516"/>
              <a:gd name="T44" fmla="*/ 72 w 299"/>
              <a:gd name="T45" fmla="*/ 433 h 516"/>
              <a:gd name="T46" fmla="*/ 75 w 299"/>
              <a:gd name="T47" fmla="*/ 470 h 516"/>
              <a:gd name="T48" fmla="*/ 87 w 299"/>
              <a:gd name="T49" fmla="*/ 505 h 516"/>
              <a:gd name="T50" fmla="*/ 89 w 299"/>
              <a:gd name="T51" fmla="*/ 516 h 516"/>
              <a:gd name="T52" fmla="*/ 61 w 299"/>
              <a:gd name="T53" fmla="*/ 516 h 516"/>
              <a:gd name="T54" fmla="*/ 31 w 299"/>
              <a:gd name="T55" fmla="*/ 509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99" h="516">
                <a:moveTo>
                  <a:pt x="31" y="509"/>
                </a:moveTo>
                <a:cubicBezTo>
                  <a:pt x="29" y="505"/>
                  <a:pt x="25" y="504"/>
                  <a:pt x="14" y="506"/>
                </a:cubicBezTo>
                <a:cubicBezTo>
                  <a:pt x="0" y="509"/>
                  <a:pt x="0" y="509"/>
                  <a:pt x="0" y="509"/>
                </a:cubicBezTo>
                <a:cubicBezTo>
                  <a:pt x="2" y="357"/>
                  <a:pt x="2" y="357"/>
                  <a:pt x="2" y="357"/>
                </a:cubicBezTo>
                <a:cubicBezTo>
                  <a:pt x="4" y="274"/>
                  <a:pt x="5" y="197"/>
                  <a:pt x="6" y="188"/>
                </a:cubicBezTo>
                <a:cubicBezTo>
                  <a:pt x="7" y="178"/>
                  <a:pt x="10" y="154"/>
                  <a:pt x="11" y="136"/>
                </a:cubicBezTo>
                <a:cubicBezTo>
                  <a:pt x="13" y="117"/>
                  <a:pt x="15" y="99"/>
                  <a:pt x="15" y="95"/>
                </a:cubicBezTo>
                <a:cubicBezTo>
                  <a:pt x="16" y="91"/>
                  <a:pt x="18" y="72"/>
                  <a:pt x="19" y="53"/>
                </a:cubicBezTo>
                <a:cubicBezTo>
                  <a:pt x="21" y="34"/>
                  <a:pt x="22" y="15"/>
                  <a:pt x="23" y="12"/>
                </a:cubicBezTo>
                <a:cubicBezTo>
                  <a:pt x="24" y="8"/>
                  <a:pt x="29" y="5"/>
                  <a:pt x="40" y="5"/>
                </a:cubicBezTo>
                <a:cubicBezTo>
                  <a:pt x="48" y="5"/>
                  <a:pt x="92" y="3"/>
                  <a:pt x="138" y="2"/>
                </a:cubicBezTo>
                <a:cubicBezTo>
                  <a:pt x="221" y="0"/>
                  <a:pt x="221" y="0"/>
                  <a:pt x="221" y="0"/>
                </a:cubicBezTo>
                <a:cubicBezTo>
                  <a:pt x="225" y="15"/>
                  <a:pt x="225" y="15"/>
                  <a:pt x="225" y="15"/>
                </a:cubicBezTo>
                <a:cubicBezTo>
                  <a:pt x="227" y="23"/>
                  <a:pt x="231" y="39"/>
                  <a:pt x="233" y="50"/>
                </a:cubicBezTo>
                <a:cubicBezTo>
                  <a:pt x="236" y="61"/>
                  <a:pt x="241" y="80"/>
                  <a:pt x="246" y="94"/>
                </a:cubicBezTo>
                <a:cubicBezTo>
                  <a:pt x="253" y="116"/>
                  <a:pt x="258" y="145"/>
                  <a:pt x="263" y="191"/>
                </a:cubicBezTo>
                <a:cubicBezTo>
                  <a:pt x="264" y="201"/>
                  <a:pt x="271" y="220"/>
                  <a:pt x="277" y="233"/>
                </a:cubicBezTo>
                <a:cubicBezTo>
                  <a:pt x="289" y="256"/>
                  <a:pt x="290" y="259"/>
                  <a:pt x="288" y="324"/>
                </a:cubicBezTo>
                <a:cubicBezTo>
                  <a:pt x="288" y="356"/>
                  <a:pt x="289" y="367"/>
                  <a:pt x="297" y="401"/>
                </a:cubicBezTo>
                <a:cubicBezTo>
                  <a:pt x="299" y="409"/>
                  <a:pt x="299" y="416"/>
                  <a:pt x="298" y="417"/>
                </a:cubicBezTo>
                <a:cubicBezTo>
                  <a:pt x="296" y="418"/>
                  <a:pt x="271" y="419"/>
                  <a:pt x="241" y="419"/>
                </a:cubicBezTo>
                <a:cubicBezTo>
                  <a:pt x="211" y="419"/>
                  <a:pt x="163" y="421"/>
                  <a:pt x="133" y="422"/>
                </a:cubicBezTo>
                <a:cubicBezTo>
                  <a:pt x="86" y="424"/>
                  <a:pt x="78" y="425"/>
                  <a:pt x="72" y="433"/>
                </a:cubicBezTo>
                <a:cubicBezTo>
                  <a:pt x="63" y="443"/>
                  <a:pt x="63" y="442"/>
                  <a:pt x="75" y="470"/>
                </a:cubicBezTo>
                <a:cubicBezTo>
                  <a:pt x="80" y="483"/>
                  <a:pt x="85" y="499"/>
                  <a:pt x="87" y="505"/>
                </a:cubicBezTo>
                <a:cubicBezTo>
                  <a:pt x="89" y="516"/>
                  <a:pt x="89" y="516"/>
                  <a:pt x="89" y="516"/>
                </a:cubicBezTo>
                <a:cubicBezTo>
                  <a:pt x="61" y="516"/>
                  <a:pt x="61" y="516"/>
                  <a:pt x="61" y="516"/>
                </a:cubicBezTo>
                <a:cubicBezTo>
                  <a:pt x="40" y="516"/>
                  <a:pt x="32" y="514"/>
                  <a:pt x="31" y="509"/>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74" name="Freeform 68"/>
          <p:cNvSpPr>
            <a:spLocks/>
          </p:cNvSpPr>
          <p:nvPr userDrawn="1"/>
        </p:nvSpPr>
        <p:spPr bwMode="black">
          <a:xfrm>
            <a:off x="3449007" y="3308241"/>
            <a:ext cx="560388" cy="527051"/>
          </a:xfrm>
          <a:custGeom>
            <a:avLst/>
            <a:gdLst>
              <a:gd name="T0" fmla="*/ 29 w 390"/>
              <a:gd name="T1" fmla="*/ 337 h 367"/>
              <a:gd name="T2" fmla="*/ 28 w 390"/>
              <a:gd name="T3" fmla="*/ 307 h 367"/>
              <a:gd name="T4" fmla="*/ 15 w 390"/>
              <a:gd name="T5" fmla="*/ 303 h 367"/>
              <a:gd name="T6" fmla="*/ 3 w 390"/>
              <a:gd name="T7" fmla="*/ 191 h 367"/>
              <a:gd name="T8" fmla="*/ 3 w 390"/>
              <a:gd name="T9" fmla="*/ 55 h 367"/>
              <a:gd name="T10" fmla="*/ 3 w 390"/>
              <a:gd name="T11" fmla="*/ 0 h 367"/>
              <a:gd name="T12" fmla="*/ 179 w 390"/>
              <a:gd name="T13" fmla="*/ 2 h 367"/>
              <a:gd name="T14" fmla="*/ 357 w 390"/>
              <a:gd name="T15" fmla="*/ 6 h 367"/>
              <a:gd name="T16" fmla="*/ 354 w 390"/>
              <a:gd name="T17" fmla="*/ 27 h 367"/>
              <a:gd name="T18" fmla="*/ 373 w 390"/>
              <a:gd name="T19" fmla="*/ 56 h 367"/>
              <a:gd name="T20" fmla="*/ 390 w 390"/>
              <a:gd name="T21" fmla="*/ 65 h 367"/>
              <a:gd name="T22" fmla="*/ 377 w 390"/>
              <a:gd name="T23" fmla="*/ 92 h 367"/>
              <a:gd name="T24" fmla="*/ 359 w 390"/>
              <a:gd name="T25" fmla="*/ 135 h 367"/>
              <a:gd name="T26" fmla="*/ 338 w 390"/>
              <a:gd name="T27" fmla="*/ 173 h 367"/>
              <a:gd name="T28" fmla="*/ 320 w 390"/>
              <a:gd name="T29" fmla="*/ 209 h 367"/>
              <a:gd name="T30" fmla="*/ 302 w 390"/>
              <a:gd name="T31" fmla="*/ 247 h 367"/>
              <a:gd name="T32" fmla="*/ 274 w 390"/>
              <a:gd name="T33" fmla="*/ 335 h 367"/>
              <a:gd name="T34" fmla="*/ 274 w 390"/>
              <a:gd name="T35" fmla="*/ 367 h 367"/>
              <a:gd name="T36" fmla="*/ 152 w 390"/>
              <a:gd name="T37" fmla="*/ 367 h 367"/>
              <a:gd name="T38" fmla="*/ 30 w 390"/>
              <a:gd name="T39" fmla="*/ 367 h 367"/>
              <a:gd name="T40" fmla="*/ 29 w 390"/>
              <a:gd name="T41" fmla="*/ 337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90" h="367">
                <a:moveTo>
                  <a:pt x="29" y="337"/>
                </a:moveTo>
                <a:cubicBezTo>
                  <a:pt x="28" y="307"/>
                  <a:pt x="28" y="307"/>
                  <a:pt x="28" y="307"/>
                </a:cubicBezTo>
                <a:cubicBezTo>
                  <a:pt x="15" y="303"/>
                  <a:pt x="15" y="303"/>
                  <a:pt x="15" y="303"/>
                </a:cubicBezTo>
                <a:cubicBezTo>
                  <a:pt x="0" y="299"/>
                  <a:pt x="1" y="308"/>
                  <a:pt x="3" y="191"/>
                </a:cubicBezTo>
                <a:cubicBezTo>
                  <a:pt x="3" y="147"/>
                  <a:pt x="3" y="86"/>
                  <a:pt x="3" y="55"/>
                </a:cubicBezTo>
                <a:cubicBezTo>
                  <a:pt x="3" y="0"/>
                  <a:pt x="3" y="0"/>
                  <a:pt x="3" y="0"/>
                </a:cubicBezTo>
                <a:cubicBezTo>
                  <a:pt x="179" y="2"/>
                  <a:pt x="179" y="2"/>
                  <a:pt x="179" y="2"/>
                </a:cubicBezTo>
                <a:cubicBezTo>
                  <a:pt x="275" y="3"/>
                  <a:pt x="356" y="5"/>
                  <a:pt x="357" y="6"/>
                </a:cubicBezTo>
                <a:cubicBezTo>
                  <a:pt x="358" y="7"/>
                  <a:pt x="357" y="17"/>
                  <a:pt x="354" y="27"/>
                </a:cubicBezTo>
                <a:cubicBezTo>
                  <a:pt x="348" y="48"/>
                  <a:pt x="349" y="49"/>
                  <a:pt x="373" y="56"/>
                </a:cubicBezTo>
                <a:cubicBezTo>
                  <a:pt x="382" y="59"/>
                  <a:pt x="390" y="63"/>
                  <a:pt x="390" y="65"/>
                </a:cubicBezTo>
                <a:cubicBezTo>
                  <a:pt x="390" y="67"/>
                  <a:pt x="384" y="80"/>
                  <a:pt x="377" y="92"/>
                </a:cubicBezTo>
                <a:cubicBezTo>
                  <a:pt x="369" y="105"/>
                  <a:pt x="361" y="124"/>
                  <a:pt x="359" y="135"/>
                </a:cubicBezTo>
                <a:cubicBezTo>
                  <a:pt x="355" y="148"/>
                  <a:pt x="348" y="161"/>
                  <a:pt x="338" y="173"/>
                </a:cubicBezTo>
                <a:cubicBezTo>
                  <a:pt x="327" y="185"/>
                  <a:pt x="322" y="196"/>
                  <a:pt x="320" y="209"/>
                </a:cubicBezTo>
                <a:cubicBezTo>
                  <a:pt x="318" y="220"/>
                  <a:pt x="312" y="234"/>
                  <a:pt x="302" y="247"/>
                </a:cubicBezTo>
                <a:cubicBezTo>
                  <a:pt x="280" y="276"/>
                  <a:pt x="273" y="297"/>
                  <a:pt x="274" y="335"/>
                </a:cubicBezTo>
                <a:cubicBezTo>
                  <a:pt x="274" y="367"/>
                  <a:pt x="274" y="367"/>
                  <a:pt x="274" y="367"/>
                </a:cubicBezTo>
                <a:cubicBezTo>
                  <a:pt x="152" y="367"/>
                  <a:pt x="152" y="367"/>
                  <a:pt x="152" y="367"/>
                </a:cubicBezTo>
                <a:cubicBezTo>
                  <a:pt x="30" y="367"/>
                  <a:pt x="30" y="367"/>
                  <a:pt x="30" y="367"/>
                </a:cubicBezTo>
                <a:lnTo>
                  <a:pt x="29" y="337"/>
                </a:ln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75" name="Freeform 69"/>
          <p:cNvSpPr>
            <a:spLocks/>
          </p:cNvSpPr>
          <p:nvPr userDrawn="1"/>
        </p:nvSpPr>
        <p:spPr bwMode="black">
          <a:xfrm>
            <a:off x="870906" y="2849453"/>
            <a:ext cx="858839" cy="1004888"/>
          </a:xfrm>
          <a:custGeom>
            <a:avLst/>
            <a:gdLst>
              <a:gd name="T0" fmla="*/ 410 w 597"/>
              <a:gd name="T1" fmla="*/ 687 h 699"/>
              <a:gd name="T2" fmla="*/ 356 w 597"/>
              <a:gd name="T3" fmla="*/ 674 h 699"/>
              <a:gd name="T4" fmla="*/ 320 w 597"/>
              <a:gd name="T5" fmla="*/ 660 h 699"/>
              <a:gd name="T6" fmla="*/ 278 w 597"/>
              <a:gd name="T7" fmla="*/ 635 h 699"/>
              <a:gd name="T8" fmla="*/ 244 w 597"/>
              <a:gd name="T9" fmla="*/ 606 h 699"/>
              <a:gd name="T10" fmla="*/ 200 w 597"/>
              <a:gd name="T11" fmla="*/ 575 h 699"/>
              <a:gd name="T12" fmla="*/ 42 w 597"/>
              <a:gd name="T13" fmla="*/ 464 h 699"/>
              <a:gd name="T14" fmla="*/ 50 w 597"/>
              <a:gd name="T15" fmla="*/ 443 h 699"/>
              <a:gd name="T16" fmla="*/ 4 w 597"/>
              <a:gd name="T17" fmla="*/ 428 h 699"/>
              <a:gd name="T18" fmla="*/ 36 w 597"/>
              <a:gd name="T19" fmla="*/ 412 h 699"/>
              <a:gd name="T20" fmla="*/ 58 w 597"/>
              <a:gd name="T21" fmla="*/ 390 h 699"/>
              <a:gd name="T22" fmla="*/ 50 w 597"/>
              <a:gd name="T23" fmla="*/ 370 h 699"/>
              <a:gd name="T24" fmla="*/ 56 w 597"/>
              <a:gd name="T25" fmla="*/ 333 h 699"/>
              <a:gd name="T26" fmla="*/ 78 w 597"/>
              <a:gd name="T27" fmla="*/ 303 h 699"/>
              <a:gd name="T28" fmla="*/ 93 w 597"/>
              <a:gd name="T29" fmla="*/ 288 h 699"/>
              <a:gd name="T30" fmla="*/ 112 w 597"/>
              <a:gd name="T31" fmla="*/ 276 h 699"/>
              <a:gd name="T32" fmla="*/ 123 w 597"/>
              <a:gd name="T33" fmla="*/ 264 h 699"/>
              <a:gd name="T34" fmla="*/ 114 w 597"/>
              <a:gd name="T35" fmla="*/ 247 h 699"/>
              <a:gd name="T36" fmla="*/ 104 w 597"/>
              <a:gd name="T37" fmla="*/ 195 h 699"/>
              <a:gd name="T38" fmla="*/ 107 w 597"/>
              <a:gd name="T39" fmla="*/ 160 h 699"/>
              <a:gd name="T40" fmla="*/ 112 w 597"/>
              <a:gd name="T41" fmla="*/ 125 h 699"/>
              <a:gd name="T42" fmla="*/ 123 w 597"/>
              <a:gd name="T43" fmla="*/ 78 h 699"/>
              <a:gd name="T44" fmla="*/ 154 w 597"/>
              <a:gd name="T45" fmla="*/ 70 h 699"/>
              <a:gd name="T46" fmla="*/ 177 w 597"/>
              <a:gd name="T47" fmla="*/ 72 h 699"/>
              <a:gd name="T48" fmla="*/ 190 w 597"/>
              <a:gd name="T49" fmla="*/ 38 h 699"/>
              <a:gd name="T50" fmla="*/ 206 w 597"/>
              <a:gd name="T51" fmla="*/ 2 h 699"/>
              <a:gd name="T52" fmla="*/ 594 w 597"/>
              <a:gd name="T53" fmla="*/ 97 h 699"/>
              <a:gd name="T54" fmla="*/ 594 w 597"/>
              <a:gd name="T55" fmla="*/ 109 h 699"/>
              <a:gd name="T56" fmla="*/ 589 w 597"/>
              <a:gd name="T57" fmla="*/ 130 h 699"/>
              <a:gd name="T58" fmla="*/ 558 w 597"/>
              <a:gd name="T59" fmla="*/ 266 h 699"/>
              <a:gd name="T60" fmla="*/ 528 w 597"/>
              <a:gd name="T61" fmla="*/ 398 h 699"/>
              <a:gd name="T62" fmla="*/ 510 w 597"/>
              <a:gd name="T63" fmla="*/ 478 h 699"/>
              <a:gd name="T64" fmla="*/ 479 w 597"/>
              <a:gd name="T65" fmla="*/ 617 h 699"/>
              <a:gd name="T66" fmla="*/ 410 w 597"/>
              <a:gd name="T67" fmla="*/ 687 h 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97" h="699">
                <a:moveTo>
                  <a:pt x="410" y="687"/>
                </a:moveTo>
                <a:cubicBezTo>
                  <a:pt x="390" y="683"/>
                  <a:pt x="367" y="677"/>
                  <a:pt x="356" y="674"/>
                </a:cubicBezTo>
                <a:cubicBezTo>
                  <a:pt x="344" y="670"/>
                  <a:pt x="328" y="660"/>
                  <a:pt x="320" y="660"/>
                </a:cubicBezTo>
                <a:cubicBezTo>
                  <a:pt x="307" y="660"/>
                  <a:pt x="299" y="652"/>
                  <a:pt x="278" y="635"/>
                </a:cubicBezTo>
                <a:cubicBezTo>
                  <a:pt x="264" y="623"/>
                  <a:pt x="249" y="610"/>
                  <a:pt x="244" y="606"/>
                </a:cubicBezTo>
                <a:cubicBezTo>
                  <a:pt x="240" y="602"/>
                  <a:pt x="220" y="588"/>
                  <a:pt x="200" y="575"/>
                </a:cubicBezTo>
                <a:cubicBezTo>
                  <a:pt x="157" y="545"/>
                  <a:pt x="62" y="481"/>
                  <a:pt x="42" y="464"/>
                </a:cubicBezTo>
                <a:cubicBezTo>
                  <a:pt x="34" y="457"/>
                  <a:pt x="58" y="447"/>
                  <a:pt x="50" y="443"/>
                </a:cubicBezTo>
                <a:cubicBezTo>
                  <a:pt x="35" y="437"/>
                  <a:pt x="0" y="434"/>
                  <a:pt x="4" y="428"/>
                </a:cubicBezTo>
                <a:cubicBezTo>
                  <a:pt x="5" y="426"/>
                  <a:pt x="24" y="417"/>
                  <a:pt x="36" y="412"/>
                </a:cubicBezTo>
                <a:cubicBezTo>
                  <a:pt x="56" y="403"/>
                  <a:pt x="58" y="402"/>
                  <a:pt x="58" y="390"/>
                </a:cubicBezTo>
                <a:cubicBezTo>
                  <a:pt x="58" y="382"/>
                  <a:pt x="55" y="374"/>
                  <a:pt x="50" y="370"/>
                </a:cubicBezTo>
                <a:cubicBezTo>
                  <a:pt x="39" y="359"/>
                  <a:pt x="40" y="350"/>
                  <a:pt x="56" y="333"/>
                </a:cubicBezTo>
                <a:cubicBezTo>
                  <a:pt x="64" y="325"/>
                  <a:pt x="74" y="312"/>
                  <a:pt x="78" y="303"/>
                </a:cubicBezTo>
                <a:cubicBezTo>
                  <a:pt x="83" y="294"/>
                  <a:pt x="89" y="288"/>
                  <a:pt x="93" y="288"/>
                </a:cubicBezTo>
                <a:cubicBezTo>
                  <a:pt x="97" y="288"/>
                  <a:pt x="106" y="282"/>
                  <a:pt x="112" y="276"/>
                </a:cubicBezTo>
                <a:cubicBezTo>
                  <a:pt x="123" y="264"/>
                  <a:pt x="123" y="264"/>
                  <a:pt x="123" y="264"/>
                </a:cubicBezTo>
                <a:cubicBezTo>
                  <a:pt x="114" y="247"/>
                  <a:pt x="114" y="247"/>
                  <a:pt x="114" y="247"/>
                </a:cubicBezTo>
                <a:cubicBezTo>
                  <a:pt x="106" y="233"/>
                  <a:pt x="104" y="223"/>
                  <a:pt x="104" y="195"/>
                </a:cubicBezTo>
                <a:cubicBezTo>
                  <a:pt x="104" y="175"/>
                  <a:pt x="105" y="160"/>
                  <a:pt x="107" y="160"/>
                </a:cubicBezTo>
                <a:cubicBezTo>
                  <a:pt x="108" y="160"/>
                  <a:pt x="110" y="144"/>
                  <a:pt x="112" y="125"/>
                </a:cubicBezTo>
                <a:cubicBezTo>
                  <a:pt x="114" y="100"/>
                  <a:pt x="117" y="86"/>
                  <a:pt x="123" y="78"/>
                </a:cubicBezTo>
                <a:cubicBezTo>
                  <a:pt x="130" y="68"/>
                  <a:pt x="132" y="68"/>
                  <a:pt x="154" y="70"/>
                </a:cubicBezTo>
                <a:cubicBezTo>
                  <a:pt x="177" y="72"/>
                  <a:pt x="177" y="72"/>
                  <a:pt x="177" y="72"/>
                </a:cubicBezTo>
                <a:cubicBezTo>
                  <a:pt x="190" y="38"/>
                  <a:pt x="190" y="38"/>
                  <a:pt x="190" y="38"/>
                </a:cubicBezTo>
                <a:cubicBezTo>
                  <a:pt x="197" y="19"/>
                  <a:pt x="204" y="3"/>
                  <a:pt x="206" y="2"/>
                </a:cubicBezTo>
                <a:cubicBezTo>
                  <a:pt x="209" y="0"/>
                  <a:pt x="587" y="93"/>
                  <a:pt x="594" y="97"/>
                </a:cubicBezTo>
                <a:cubicBezTo>
                  <a:pt x="596" y="99"/>
                  <a:pt x="597" y="103"/>
                  <a:pt x="594" y="109"/>
                </a:cubicBezTo>
                <a:cubicBezTo>
                  <a:pt x="592" y="114"/>
                  <a:pt x="590" y="124"/>
                  <a:pt x="589" y="130"/>
                </a:cubicBezTo>
                <a:cubicBezTo>
                  <a:pt x="588" y="136"/>
                  <a:pt x="574" y="197"/>
                  <a:pt x="558" y="266"/>
                </a:cubicBezTo>
                <a:cubicBezTo>
                  <a:pt x="543" y="334"/>
                  <a:pt x="529" y="393"/>
                  <a:pt x="528" y="398"/>
                </a:cubicBezTo>
                <a:cubicBezTo>
                  <a:pt x="528" y="402"/>
                  <a:pt x="519" y="438"/>
                  <a:pt x="510" y="478"/>
                </a:cubicBezTo>
                <a:cubicBezTo>
                  <a:pt x="501" y="517"/>
                  <a:pt x="487" y="580"/>
                  <a:pt x="479" y="617"/>
                </a:cubicBezTo>
                <a:cubicBezTo>
                  <a:pt x="462" y="693"/>
                  <a:pt x="467" y="699"/>
                  <a:pt x="410" y="687"/>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77" name="Freeform 70"/>
          <p:cNvSpPr>
            <a:spLocks/>
          </p:cNvSpPr>
          <p:nvPr userDrawn="1"/>
        </p:nvSpPr>
        <p:spPr bwMode="black">
          <a:xfrm>
            <a:off x="166057" y="1719153"/>
            <a:ext cx="860425" cy="1746251"/>
          </a:xfrm>
          <a:custGeom>
            <a:avLst/>
            <a:gdLst>
              <a:gd name="T0" fmla="*/ 477 w 599"/>
              <a:gd name="T1" fmla="*/ 1211 h 1215"/>
              <a:gd name="T2" fmla="*/ 324 w 599"/>
              <a:gd name="T3" fmla="*/ 1182 h 1215"/>
              <a:gd name="T4" fmla="*/ 295 w 599"/>
              <a:gd name="T5" fmla="*/ 1095 h 1215"/>
              <a:gd name="T6" fmla="*/ 279 w 599"/>
              <a:gd name="T7" fmla="*/ 1030 h 1215"/>
              <a:gd name="T8" fmla="*/ 249 w 599"/>
              <a:gd name="T9" fmla="*/ 995 h 1215"/>
              <a:gd name="T10" fmla="*/ 229 w 599"/>
              <a:gd name="T11" fmla="*/ 974 h 1215"/>
              <a:gd name="T12" fmla="*/ 209 w 599"/>
              <a:gd name="T13" fmla="*/ 951 h 1215"/>
              <a:gd name="T14" fmla="*/ 181 w 599"/>
              <a:gd name="T15" fmla="*/ 919 h 1215"/>
              <a:gd name="T16" fmla="*/ 135 w 599"/>
              <a:gd name="T17" fmla="*/ 883 h 1215"/>
              <a:gd name="T18" fmla="*/ 87 w 599"/>
              <a:gd name="T19" fmla="*/ 851 h 1215"/>
              <a:gd name="T20" fmla="*/ 88 w 599"/>
              <a:gd name="T21" fmla="*/ 806 h 1215"/>
              <a:gd name="T22" fmla="*/ 81 w 599"/>
              <a:gd name="T23" fmla="*/ 731 h 1215"/>
              <a:gd name="T24" fmla="*/ 69 w 599"/>
              <a:gd name="T25" fmla="*/ 678 h 1215"/>
              <a:gd name="T26" fmla="*/ 56 w 599"/>
              <a:gd name="T27" fmla="*/ 646 h 1215"/>
              <a:gd name="T28" fmla="*/ 51 w 599"/>
              <a:gd name="T29" fmla="*/ 605 h 1215"/>
              <a:gd name="T30" fmla="*/ 50 w 599"/>
              <a:gd name="T31" fmla="*/ 538 h 1215"/>
              <a:gd name="T32" fmla="*/ 43 w 599"/>
              <a:gd name="T33" fmla="*/ 506 h 1215"/>
              <a:gd name="T34" fmla="*/ 54 w 599"/>
              <a:gd name="T35" fmla="*/ 477 h 1215"/>
              <a:gd name="T36" fmla="*/ 42 w 599"/>
              <a:gd name="T37" fmla="*/ 432 h 1215"/>
              <a:gd name="T38" fmla="*/ 27 w 599"/>
              <a:gd name="T39" fmla="*/ 400 h 1215"/>
              <a:gd name="T40" fmla="*/ 18 w 599"/>
              <a:gd name="T41" fmla="*/ 361 h 1215"/>
              <a:gd name="T42" fmla="*/ 5 w 599"/>
              <a:gd name="T43" fmla="*/ 319 h 1215"/>
              <a:gd name="T44" fmla="*/ 14 w 599"/>
              <a:gd name="T45" fmla="*/ 252 h 1215"/>
              <a:gd name="T46" fmla="*/ 28 w 599"/>
              <a:gd name="T47" fmla="*/ 207 h 1215"/>
              <a:gd name="T48" fmla="*/ 18 w 599"/>
              <a:gd name="T49" fmla="*/ 182 h 1215"/>
              <a:gd name="T50" fmla="*/ 15 w 599"/>
              <a:gd name="T51" fmla="*/ 142 h 1215"/>
              <a:gd name="T52" fmla="*/ 32 w 599"/>
              <a:gd name="T53" fmla="*/ 115 h 1215"/>
              <a:gd name="T54" fmla="*/ 63 w 599"/>
              <a:gd name="T55" fmla="*/ 72 h 1215"/>
              <a:gd name="T56" fmla="*/ 86 w 599"/>
              <a:gd name="T57" fmla="*/ 19 h 1215"/>
              <a:gd name="T58" fmla="*/ 91 w 599"/>
              <a:gd name="T59" fmla="*/ 1 h 1215"/>
              <a:gd name="T60" fmla="*/ 273 w 599"/>
              <a:gd name="T61" fmla="*/ 67 h 1215"/>
              <a:gd name="T62" fmla="*/ 356 w 599"/>
              <a:gd name="T63" fmla="*/ 97 h 1215"/>
              <a:gd name="T64" fmla="*/ 392 w 599"/>
              <a:gd name="T65" fmla="*/ 122 h 1215"/>
              <a:gd name="T66" fmla="*/ 369 w 599"/>
              <a:gd name="T67" fmla="*/ 187 h 1215"/>
              <a:gd name="T68" fmla="*/ 329 w 599"/>
              <a:gd name="T69" fmla="*/ 299 h 1215"/>
              <a:gd name="T70" fmla="*/ 301 w 599"/>
              <a:gd name="T71" fmla="*/ 380 h 1215"/>
              <a:gd name="T72" fmla="*/ 300 w 599"/>
              <a:gd name="T73" fmla="*/ 440 h 1215"/>
              <a:gd name="T74" fmla="*/ 326 w 599"/>
              <a:gd name="T75" fmla="*/ 487 h 1215"/>
              <a:gd name="T76" fmla="*/ 578 w 599"/>
              <a:gd name="T77" fmla="*/ 958 h 1215"/>
              <a:gd name="T78" fmla="*/ 582 w 599"/>
              <a:gd name="T79" fmla="*/ 990 h 1215"/>
              <a:gd name="T80" fmla="*/ 589 w 599"/>
              <a:gd name="T81" fmla="*/ 1034 h 1215"/>
              <a:gd name="T82" fmla="*/ 580 w 599"/>
              <a:gd name="T83" fmla="*/ 1062 h 1215"/>
              <a:gd name="T84" fmla="*/ 558 w 599"/>
              <a:gd name="T85" fmla="*/ 1083 h 1215"/>
              <a:gd name="T86" fmla="*/ 535 w 599"/>
              <a:gd name="T87" fmla="*/ 1115 h 1215"/>
              <a:gd name="T88" fmla="*/ 529 w 599"/>
              <a:gd name="T89" fmla="*/ 1163 h 1215"/>
              <a:gd name="T90" fmla="*/ 516 w 599"/>
              <a:gd name="T91" fmla="*/ 1189 h 1215"/>
              <a:gd name="T92" fmla="*/ 477 w 599"/>
              <a:gd name="T93" fmla="*/ 1211 h 1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99" h="1215">
                <a:moveTo>
                  <a:pt x="477" y="1211"/>
                </a:moveTo>
                <a:cubicBezTo>
                  <a:pt x="470" y="1207"/>
                  <a:pt x="375" y="1194"/>
                  <a:pt x="324" y="1182"/>
                </a:cubicBezTo>
                <a:cubicBezTo>
                  <a:pt x="288" y="1174"/>
                  <a:pt x="297" y="1147"/>
                  <a:pt x="295" y="1095"/>
                </a:cubicBezTo>
                <a:cubicBezTo>
                  <a:pt x="294" y="1056"/>
                  <a:pt x="293" y="1053"/>
                  <a:pt x="279" y="1030"/>
                </a:cubicBezTo>
                <a:cubicBezTo>
                  <a:pt x="271" y="1017"/>
                  <a:pt x="257" y="1001"/>
                  <a:pt x="249" y="995"/>
                </a:cubicBezTo>
                <a:cubicBezTo>
                  <a:pt x="240" y="989"/>
                  <a:pt x="231" y="980"/>
                  <a:pt x="229" y="974"/>
                </a:cubicBezTo>
                <a:cubicBezTo>
                  <a:pt x="226" y="968"/>
                  <a:pt x="218" y="957"/>
                  <a:pt x="209" y="951"/>
                </a:cubicBezTo>
                <a:cubicBezTo>
                  <a:pt x="201" y="944"/>
                  <a:pt x="188" y="930"/>
                  <a:pt x="181" y="919"/>
                </a:cubicBezTo>
                <a:cubicBezTo>
                  <a:pt x="167" y="898"/>
                  <a:pt x="147" y="883"/>
                  <a:pt x="135" y="883"/>
                </a:cubicBezTo>
                <a:cubicBezTo>
                  <a:pt x="123" y="883"/>
                  <a:pt x="99" y="866"/>
                  <a:pt x="87" y="851"/>
                </a:cubicBezTo>
                <a:cubicBezTo>
                  <a:pt x="76" y="836"/>
                  <a:pt x="76" y="818"/>
                  <a:pt x="88" y="806"/>
                </a:cubicBezTo>
                <a:cubicBezTo>
                  <a:pt x="97" y="796"/>
                  <a:pt x="95" y="779"/>
                  <a:pt x="81" y="731"/>
                </a:cubicBezTo>
                <a:cubicBezTo>
                  <a:pt x="75" y="707"/>
                  <a:pt x="69" y="684"/>
                  <a:pt x="69" y="678"/>
                </a:cubicBezTo>
                <a:cubicBezTo>
                  <a:pt x="69" y="673"/>
                  <a:pt x="63" y="658"/>
                  <a:pt x="56" y="646"/>
                </a:cubicBezTo>
                <a:cubicBezTo>
                  <a:pt x="41" y="621"/>
                  <a:pt x="41" y="620"/>
                  <a:pt x="51" y="605"/>
                </a:cubicBezTo>
                <a:cubicBezTo>
                  <a:pt x="63" y="588"/>
                  <a:pt x="62" y="555"/>
                  <a:pt x="50" y="538"/>
                </a:cubicBezTo>
                <a:cubicBezTo>
                  <a:pt x="42" y="528"/>
                  <a:pt x="41" y="523"/>
                  <a:pt x="43" y="506"/>
                </a:cubicBezTo>
                <a:cubicBezTo>
                  <a:pt x="45" y="496"/>
                  <a:pt x="49" y="482"/>
                  <a:pt x="54" y="477"/>
                </a:cubicBezTo>
                <a:cubicBezTo>
                  <a:pt x="64" y="463"/>
                  <a:pt x="61" y="447"/>
                  <a:pt x="42" y="432"/>
                </a:cubicBezTo>
                <a:cubicBezTo>
                  <a:pt x="29" y="420"/>
                  <a:pt x="27" y="416"/>
                  <a:pt x="27" y="400"/>
                </a:cubicBezTo>
                <a:cubicBezTo>
                  <a:pt x="27" y="389"/>
                  <a:pt x="23" y="372"/>
                  <a:pt x="18" y="361"/>
                </a:cubicBezTo>
                <a:cubicBezTo>
                  <a:pt x="13" y="351"/>
                  <a:pt x="7" y="332"/>
                  <a:pt x="5" y="319"/>
                </a:cubicBezTo>
                <a:cubicBezTo>
                  <a:pt x="0" y="298"/>
                  <a:pt x="1" y="294"/>
                  <a:pt x="14" y="252"/>
                </a:cubicBezTo>
                <a:cubicBezTo>
                  <a:pt x="28" y="207"/>
                  <a:pt x="28" y="207"/>
                  <a:pt x="28" y="207"/>
                </a:cubicBezTo>
                <a:cubicBezTo>
                  <a:pt x="18" y="182"/>
                  <a:pt x="18" y="182"/>
                  <a:pt x="18" y="182"/>
                </a:cubicBezTo>
                <a:cubicBezTo>
                  <a:pt x="9" y="158"/>
                  <a:pt x="9" y="157"/>
                  <a:pt x="15" y="142"/>
                </a:cubicBezTo>
                <a:cubicBezTo>
                  <a:pt x="19" y="133"/>
                  <a:pt x="27" y="121"/>
                  <a:pt x="32" y="115"/>
                </a:cubicBezTo>
                <a:cubicBezTo>
                  <a:pt x="37" y="109"/>
                  <a:pt x="51" y="90"/>
                  <a:pt x="63" y="72"/>
                </a:cubicBezTo>
                <a:cubicBezTo>
                  <a:pt x="82" y="44"/>
                  <a:pt x="85" y="36"/>
                  <a:pt x="86" y="19"/>
                </a:cubicBezTo>
                <a:cubicBezTo>
                  <a:pt x="86" y="6"/>
                  <a:pt x="88" y="0"/>
                  <a:pt x="91" y="1"/>
                </a:cubicBezTo>
                <a:cubicBezTo>
                  <a:pt x="96" y="2"/>
                  <a:pt x="207" y="42"/>
                  <a:pt x="273" y="67"/>
                </a:cubicBezTo>
                <a:cubicBezTo>
                  <a:pt x="296" y="75"/>
                  <a:pt x="333" y="89"/>
                  <a:pt x="356" y="97"/>
                </a:cubicBezTo>
                <a:cubicBezTo>
                  <a:pt x="396" y="111"/>
                  <a:pt x="397" y="112"/>
                  <a:pt x="392" y="122"/>
                </a:cubicBezTo>
                <a:cubicBezTo>
                  <a:pt x="390" y="128"/>
                  <a:pt x="380" y="157"/>
                  <a:pt x="369" y="187"/>
                </a:cubicBezTo>
                <a:cubicBezTo>
                  <a:pt x="359" y="216"/>
                  <a:pt x="341" y="267"/>
                  <a:pt x="329" y="299"/>
                </a:cubicBezTo>
                <a:cubicBezTo>
                  <a:pt x="318" y="330"/>
                  <a:pt x="305" y="367"/>
                  <a:pt x="301" y="380"/>
                </a:cubicBezTo>
                <a:cubicBezTo>
                  <a:pt x="293" y="403"/>
                  <a:pt x="292" y="430"/>
                  <a:pt x="300" y="440"/>
                </a:cubicBezTo>
                <a:cubicBezTo>
                  <a:pt x="302" y="443"/>
                  <a:pt x="314" y="463"/>
                  <a:pt x="326" y="487"/>
                </a:cubicBezTo>
                <a:cubicBezTo>
                  <a:pt x="399" y="625"/>
                  <a:pt x="575" y="953"/>
                  <a:pt x="578" y="958"/>
                </a:cubicBezTo>
                <a:cubicBezTo>
                  <a:pt x="581" y="961"/>
                  <a:pt x="582" y="975"/>
                  <a:pt x="582" y="990"/>
                </a:cubicBezTo>
                <a:cubicBezTo>
                  <a:pt x="581" y="1012"/>
                  <a:pt x="583" y="1022"/>
                  <a:pt x="589" y="1034"/>
                </a:cubicBezTo>
                <a:cubicBezTo>
                  <a:pt x="599" y="1053"/>
                  <a:pt x="597" y="1057"/>
                  <a:pt x="580" y="1062"/>
                </a:cubicBezTo>
                <a:cubicBezTo>
                  <a:pt x="570" y="1064"/>
                  <a:pt x="565" y="1069"/>
                  <a:pt x="558" y="1083"/>
                </a:cubicBezTo>
                <a:cubicBezTo>
                  <a:pt x="553" y="1093"/>
                  <a:pt x="542" y="1107"/>
                  <a:pt x="535" y="1115"/>
                </a:cubicBezTo>
                <a:cubicBezTo>
                  <a:pt x="519" y="1131"/>
                  <a:pt x="517" y="1150"/>
                  <a:pt x="529" y="1163"/>
                </a:cubicBezTo>
                <a:cubicBezTo>
                  <a:pt x="541" y="1176"/>
                  <a:pt x="539" y="1180"/>
                  <a:pt x="516" y="1189"/>
                </a:cubicBezTo>
                <a:cubicBezTo>
                  <a:pt x="486" y="1202"/>
                  <a:pt x="484" y="1215"/>
                  <a:pt x="477" y="1211"/>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78" name="Freeform 71"/>
          <p:cNvSpPr>
            <a:spLocks/>
          </p:cNvSpPr>
          <p:nvPr userDrawn="1"/>
        </p:nvSpPr>
        <p:spPr bwMode="black">
          <a:xfrm>
            <a:off x="432756" y="3243154"/>
            <a:ext cx="49213" cy="28575"/>
          </a:xfrm>
          <a:custGeom>
            <a:avLst/>
            <a:gdLst>
              <a:gd name="T0" fmla="*/ 12 w 34"/>
              <a:gd name="T1" fmla="*/ 16 h 20"/>
              <a:gd name="T2" fmla="*/ 21 w 34"/>
              <a:gd name="T3" fmla="*/ 3 h 20"/>
              <a:gd name="T4" fmla="*/ 26 w 34"/>
              <a:gd name="T5" fmla="*/ 17 h 20"/>
              <a:gd name="T6" fmla="*/ 12 w 34"/>
              <a:gd name="T7" fmla="*/ 16 h 20"/>
            </a:gdLst>
            <a:ahLst/>
            <a:cxnLst>
              <a:cxn ang="0">
                <a:pos x="T0" y="T1"/>
              </a:cxn>
              <a:cxn ang="0">
                <a:pos x="T2" y="T3"/>
              </a:cxn>
              <a:cxn ang="0">
                <a:pos x="T4" y="T5"/>
              </a:cxn>
              <a:cxn ang="0">
                <a:pos x="T6" y="T7"/>
              </a:cxn>
            </a:cxnLst>
            <a:rect l="0" t="0" r="r" b="b"/>
            <a:pathLst>
              <a:path w="34" h="20">
                <a:moveTo>
                  <a:pt x="12" y="16"/>
                </a:moveTo>
                <a:cubicBezTo>
                  <a:pt x="0" y="10"/>
                  <a:pt x="6" y="0"/>
                  <a:pt x="21" y="3"/>
                </a:cubicBezTo>
                <a:cubicBezTo>
                  <a:pt x="32" y="6"/>
                  <a:pt x="34" y="10"/>
                  <a:pt x="26" y="17"/>
                </a:cubicBezTo>
                <a:cubicBezTo>
                  <a:pt x="23" y="20"/>
                  <a:pt x="18" y="19"/>
                  <a:pt x="12" y="16"/>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79" name="Freeform 72"/>
          <p:cNvSpPr>
            <a:spLocks/>
          </p:cNvSpPr>
          <p:nvPr userDrawn="1"/>
        </p:nvSpPr>
        <p:spPr bwMode="auto">
          <a:xfrm>
            <a:off x="459744" y="3171717"/>
            <a:ext cx="30163" cy="30163"/>
          </a:xfrm>
          <a:custGeom>
            <a:avLst/>
            <a:gdLst>
              <a:gd name="T0" fmla="*/ 6 w 21"/>
              <a:gd name="T1" fmla="*/ 14 h 21"/>
              <a:gd name="T2" fmla="*/ 6 w 21"/>
              <a:gd name="T3" fmla="*/ 0 h 21"/>
              <a:gd name="T4" fmla="*/ 21 w 21"/>
              <a:gd name="T5" fmla="*/ 14 h 21"/>
              <a:gd name="T6" fmla="*/ 6 w 21"/>
              <a:gd name="T7" fmla="*/ 14 h 21"/>
            </a:gdLst>
            <a:ahLst/>
            <a:cxnLst>
              <a:cxn ang="0">
                <a:pos x="T0" y="T1"/>
              </a:cxn>
              <a:cxn ang="0">
                <a:pos x="T2" y="T3"/>
              </a:cxn>
              <a:cxn ang="0">
                <a:pos x="T4" y="T5"/>
              </a:cxn>
              <a:cxn ang="0">
                <a:pos x="T6" y="T7"/>
              </a:cxn>
            </a:cxnLst>
            <a:rect l="0" t="0" r="r" b="b"/>
            <a:pathLst>
              <a:path w="21" h="21">
                <a:moveTo>
                  <a:pt x="6" y="14"/>
                </a:moveTo>
                <a:cubicBezTo>
                  <a:pt x="0" y="6"/>
                  <a:pt x="0" y="0"/>
                  <a:pt x="6" y="0"/>
                </a:cubicBezTo>
                <a:cubicBezTo>
                  <a:pt x="13" y="0"/>
                  <a:pt x="21" y="8"/>
                  <a:pt x="21" y="14"/>
                </a:cubicBezTo>
                <a:cubicBezTo>
                  <a:pt x="21" y="21"/>
                  <a:pt x="12" y="21"/>
                  <a:pt x="6" y="14"/>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80" name="Freeform 73"/>
          <p:cNvSpPr>
            <a:spLocks/>
          </p:cNvSpPr>
          <p:nvPr userDrawn="1"/>
        </p:nvSpPr>
        <p:spPr bwMode="black">
          <a:xfrm>
            <a:off x="293055" y="3022491"/>
            <a:ext cx="101600" cy="38100"/>
          </a:xfrm>
          <a:custGeom>
            <a:avLst/>
            <a:gdLst>
              <a:gd name="T0" fmla="*/ 36 w 70"/>
              <a:gd name="T1" fmla="*/ 24 h 27"/>
              <a:gd name="T2" fmla="*/ 0 w 70"/>
              <a:gd name="T3" fmla="*/ 3 h 27"/>
              <a:gd name="T4" fmla="*/ 22 w 70"/>
              <a:gd name="T5" fmla="*/ 0 h 27"/>
              <a:gd name="T6" fmla="*/ 57 w 70"/>
              <a:gd name="T7" fmla="*/ 9 h 27"/>
              <a:gd name="T8" fmla="*/ 70 w 70"/>
              <a:gd name="T9" fmla="*/ 22 h 27"/>
              <a:gd name="T10" fmla="*/ 36 w 70"/>
              <a:gd name="T11" fmla="*/ 24 h 27"/>
            </a:gdLst>
            <a:ahLst/>
            <a:cxnLst>
              <a:cxn ang="0">
                <a:pos x="T0" y="T1"/>
              </a:cxn>
              <a:cxn ang="0">
                <a:pos x="T2" y="T3"/>
              </a:cxn>
              <a:cxn ang="0">
                <a:pos x="T4" y="T5"/>
              </a:cxn>
              <a:cxn ang="0">
                <a:pos x="T6" y="T7"/>
              </a:cxn>
              <a:cxn ang="0">
                <a:pos x="T8" y="T9"/>
              </a:cxn>
              <a:cxn ang="0">
                <a:pos x="T10" y="T11"/>
              </a:cxn>
            </a:cxnLst>
            <a:rect l="0" t="0" r="r" b="b"/>
            <a:pathLst>
              <a:path w="70" h="27">
                <a:moveTo>
                  <a:pt x="36" y="24"/>
                </a:moveTo>
                <a:cubicBezTo>
                  <a:pt x="21" y="21"/>
                  <a:pt x="0" y="9"/>
                  <a:pt x="0" y="3"/>
                </a:cubicBezTo>
                <a:cubicBezTo>
                  <a:pt x="0" y="1"/>
                  <a:pt x="10" y="0"/>
                  <a:pt x="22" y="0"/>
                </a:cubicBezTo>
                <a:cubicBezTo>
                  <a:pt x="37" y="0"/>
                  <a:pt x="47" y="2"/>
                  <a:pt x="57" y="9"/>
                </a:cubicBezTo>
                <a:cubicBezTo>
                  <a:pt x="64" y="14"/>
                  <a:pt x="70" y="20"/>
                  <a:pt x="70" y="22"/>
                </a:cubicBezTo>
                <a:cubicBezTo>
                  <a:pt x="70" y="26"/>
                  <a:pt x="55" y="27"/>
                  <a:pt x="36" y="24"/>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81" name="Freeform 74"/>
          <p:cNvSpPr>
            <a:spLocks/>
          </p:cNvSpPr>
          <p:nvPr userDrawn="1"/>
        </p:nvSpPr>
        <p:spPr bwMode="black">
          <a:xfrm>
            <a:off x="1756733" y="2393842"/>
            <a:ext cx="881063" cy="728663"/>
          </a:xfrm>
          <a:custGeom>
            <a:avLst/>
            <a:gdLst>
              <a:gd name="T0" fmla="*/ 510 w 612"/>
              <a:gd name="T1" fmla="*/ 503 h 508"/>
              <a:gd name="T2" fmla="*/ 376 w 612"/>
              <a:gd name="T3" fmla="*/ 475 h 508"/>
              <a:gd name="T4" fmla="*/ 348 w 612"/>
              <a:gd name="T5" fmla="*/ 470 h 508"/>
              <a:gd name="T6" fmla="*/ 318 w 612"/>
              <a:gd name="T7" fmla="*/ 464 h 508"/>
              <a:gd name="T8" fmla="*/ 114 w 612"/>
              <a:gd name="T9" fmla="*/ 425 h 508"/>
              <a:gd name="T10" fmla="*/ 26 w 612"/>
              <a:gd name="T11" fmla="*/ 408 h 508"/>
              <a:gd name="T12" fmla="*/ 1 w 612"/>
              <a:gd name="T13" fmla="*/ 397 h 508"/>
              <a:gd name="T14" fmla="*/ 32 w 612"/>
              <a:gd name="T15" fmla="*/ 254 h 508"/>
              <a:gd name="T16" fmla="*/ 65 w 612"/>
              <a:gd name="T17" fmla="*/ 108 h 508"/>
              <a:gd name="T18" fmla="*/ 78 w 612"/>
              <a:gd name="T19" fmla="*/ 50 h 508"/>
              <a:gd name="T20" fmla="*/ 96 w 612"/>
              <a:gd name="T21" fmla="*/ 0 h 508"/>
              <a:gd name="T22" fmla="*/ 144 w 612"/>
              <a:gd name="T23" fmla="*/ 9 h 508"/>
              <a:gd name="T24" fmla="*/ 193 w 612"/>
              <a:gd name="T25" fmla="*/ 19 h 508"/>
              <a:gd name="T26" fmla="*/ 209 w 612"/>
              <a:gd name="T27" fmla="*/ 23 h 508"/>
              <a:gd name="T28" fmla="*/ 226 w 612"/>
              <a:gd name="T29" fmla="*/ 27 h 508"/>
              <a:gd name="T30" fmla="*/ 372 w 612"/>
              <a:gd name="T31" fmla="*/ 58 h 508"/>
              <a:gd name="T32" fmla="*/ 464 w 612"/>
              <a:gd name="T33" fmla="*/ 76 h 508"/>
              <a:gd name="T34" fmla="*/ 492 w 612"/>
              <a:gd name="T35" fmla="*/ 79 h 508"/>
              <a:gd name="T36" fmla="*/ 518 w 612"/>
              <a:gd name="T37" fmla="*/ 84 h 508"/>
              <a:gd name="T38" fmla="*/ 611 w 612"/>
              <a:gd name="T39" fmla="*/ 106 h 508"/>
              <a:gd name="T40" fmla="*/ 584 w 612"/>
              <a:gd name="T41" fmla="*/ 304 h 508"/>
              <a:gd name="T42" fmla="*/ 580 w 612"/>
              <a:gd name="T43" fmla="*/ 330 h 508"/>
              <a:gd name="T44" fmla="*/ 577 w 612"/>
              <a:gd name="T45" fmla="*/ 354 h 508"/>
              <a:gd name="T46" fmla="*/ 567 w 612"/>
              <a:gd name="T47" fmla="*/ 426 h 508"/>
              <a:gd name="T48" fmla="*/ 557 w 612"/>
              <a:gd name="T49" fmla="*/ 496 h 508"/>
              <a:gd name="T50" fmla="*/ 544 w 612"/>
              <a:gd name="T51" fmla="*/ 508 h 508"/>
              <a:gd name="T52" fmla="*/ 510 w 612"/>
              <a:gd name="T53" fmla="*/ 503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2" h="508">
                <a:moveTo>
                  <a:pt x="510" y="503"/>
                </a:moveTo>
                <a:cubicBezTo>
                  <a:pt x="493" y="499"/>
                  <a:pt x="431" y="486"/>
                  <a:pt x="376" y="475"/>
                </a:cubicBezTo>
                <a:cubicBezTo>
                  <a:pt x="372" y="474"/>
                  <a:pt x="359" y="472"/>
                  <a:pt x="348" y="470"/>
                </a:cubicBezTo>
                <a:cubicBezTo>
                  <a:pt x="337" y="468"/>
                  <a:pt x="324" y="465"/>
                  <a:pt x="318" y="464"/>
                </a:cubicBezTo>
                <a:cubicBezTo>
                  <a:pt x="309" y="462"/>
                  <a:pt x="253" y="452"/>
                  <a:pt x="114" y="425"/>
                </a:cubicBezTo>
                <a:cubicBezTo>
                  <a:pt x="80" y="419"/>
                  <a:pt x="40" y="411"/>
                  <a:pt x="26" y="408"/>
                </a:cubicBezTo>
                <a:cubicBezTo>
                  <a:pt x="8" y="405"/>
                  <a:pt x="0" y="401"/>
                  <a:pt x="1" y="397"/>
                </a:cubicBezTo>
                <a:cubicBezTo>
                  <a:pt x="1" y="394"/>
                  <a:pt x="15" y="329"/>
                  <a:pt x="32" y="254"/>
                </a:cubicBezTo>
                <a:cubicBezTo>
                  <a:pt x="49" y="178"/>
                  <a:pt x="64" y="112"/>
                  <a:pt x="65" y="108"/>
                </a:cubicBezTo>
                <a:cubicBezTo>
                  <a:pt x="66" y="103"/>
                  <a:pt x="71" y="77"/>
                  <a:pt x="78" y="50"/>
                </a:cubicBezTo>
                <a:cubicBezTo>
                  <a:pt x="87" y="6"/>
                  <a:pt x="90" y="0"/>
                  <a:pt x="96" y="0"/>
                </a:cubicBezTo>
                <a:cubicBezTo>
                  <a:pt x="101" y="1"/>
                  <a:pt x="122" y="5"/>
                  <a:pt x="144" y="9"/>
                </a:cubicBezTo>
                <a:cubicBezTo>
                  <a:pt x="165" y="14"/>
                  <a:pt x="187" y="18"/>
                  <a:pt x="193" y="19"/>
                </a:cubicBezTo>
                <a:cubicBezTo>
                  <a:pt x="198" y="20"/>
                  <a:pt x="205" y="22"/>
                  <a:pt x="209" y="23"/>
                </a:cubicBezTo>
                <a:cubicBezTo>
                  <a:pt x="213" y="24"/>
                  <a:pt x="221" y="26"/>
                  <a:pt x="226" y="27"/>
                </a:cubicBezTo>
                <a:cubicBezTo>
                  <a:pt x="241" y="30"/>
                  <a:pt x="286" y="39"/>
                  <a:pt x="372" y="58"/>
                </a:cubicBezTo>
                <a:cubicBezTo>
                  <a:pt x="414" y="67"/>
                  <a:pt x="455" y="75"/>
                  <a:pt x="464" y="76"/>
                </a:cubicBezTo>
                <a:cubicBezTo>
                  <a:pt x="473" y="77"/>
                  <a:pt x="486" y="78"/>
                  <a:pt x="492" y="79"/>
                </a:cubicBezTo>
                <a:cubicBezTo>
                  <a:pt x="499" y="80"/>
                  <a:pt x="510" y="82"/>
                  <a:pt x="518" y="84"/>
                </a:cubicBezTo>
                <a:cubicBezTo>
                  <a:pt x="591" y="95"/>
                  <a:pt x="612" y="100"/>
                  <a:pt x="611" y="106"/>
                </a:cubicBezTo>
                <a:cubicBezTo>
                  <a:pt x="607" y="137"/>
                  <a:pt x="586" y="291"/>
                  <a:pt x="584" y="304"/>
                </a:cubicBezTo>
                <a:cubicBezTo>
                  <a:pt x="583" y="312"/>
                  <a:pt x="581" y="324"/>
                  <a:pt x="580" y="330"/>
                </a:cubicBezTo>
                <a:cubicBezTo>
                  <a:pt x="579" y="335"/>
                  <a:pt x="578" y="346"/>
                  <a:pt x="577" y="354"/>
                </a:cubicBezTo>
                <a:cubicBezTo>
                  <a:pt x="576" y="361"/>
                  <a:pt x="571" y="394"/>
                  <a:pt x="567" y="426"/>
                </a:cubicBezTo>
                <a:cubicBezTo>
                  <a:pt x="562" y="457"/>
                  <a:pt x="558" y="489"/>
                  <a:pt x="557" y="496"/>
                </a:cubicBezTo>
                <a:cubicBezTo>
                  <a:pt x="556" y="506"/>
                  <a:pt x="554" y="508"/>
                  <a:pt x="544" y="508"/>
                </a:cubicBezTo>
                <a:cubicBezTo>
                  <a:pt x="537" y="508"/>
                  <a:pt x="522" y="506"/>
                  <a:pt x="510" y="503"/>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82" name="Freeform 75"/>
          <p:cNvSpPr>
            <a:spLocks/>
          </p:cNvSpPr>
          <p:nvPr userDrawn="1"/>
        </p:nvSpPr>
        <p:spPr bwMode="black">
          <a:xfrm>
            <a:off x="5817558" y="2243029"/>
            <a:ext cx="169863" cy="153988"/>
          </a:xfrm>
          <a:custGeom>
            <a:avLst/>
            <a:gdLst>
              <a:gd name="T0" fmla="*/ 11 w 118"/>
              <a:gd name="T1" fmla="*/ 102 h 108"/>
              <a:gd name="T2" fmla="*/ 6 w 118"/>
              <a:gd name="T3" fmla="*/ 78 h 108"/>
              <a:gd name="T4" fmla="*/ 1 w 118"/>
              <a:gd name="T5" fmla="*/ 52 h 108"/>
              <a:gd name="T6" fmla="*/ 3 w 118"/>
              <a:gd name="T7" fmla="*/ 32 h 108"/>
              <a:gd name="T8" fmla="*/ 4 w 118"/>
              <a:gd name="T9" fmla="*/ 20 h 108"/>
              <a:gd name="T10" fmla="*/ 48 w 118"/>
              <a:gd name="T11" fmla="*/ 10 h 108"/>
              <a:gd name="T12" fmla="*/ 97 w 118"/>
              <a:gd name="T13" fmla="*/ 0 h 108"/>
              <a:gd name="T14" fmla="*/ 118 w 118"/>
              <a:gd name="T15" fmla="*/ 72 h 108"/>
              <a:gd name="T16" fmla="*/ 95 w 118"/>
              <a:gd name="T17" fmla="*/ 81 h 108"/>
              <a:gd name="T18" fmla="*/ 28 w 118"/>
              <a:gd name="T19" fmla="*/ 103 h 108"/>
              <a:gd name="T20" fmla="*/ 11 w 118"/>
              <a:gd name="T21" fmla="*/ 10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 h="108">
                <a:moveTo>
                  <a:pt x="11" y="102"/>
                </a:moveTo>
                <a:cubicBezTo>
                  <a:pt x="12" y="99"/>
                  <a:pt x="10" y="88"/>
                  <a:pt x="6" y="78"/>
                </a:cubicBezTo>
                <a:cubicBezTo>
                  <a:pt x="2" y="68"/>
                  <a:pt x="0" y="57"/>
                  <a:pt x="1" y="52"/>
                </a:cubicBezTo>
                <a:cubicBezTo>
                  <a:pt x="1" y="48"/>
                  <a:pt x="2" y="39"/>
                  <a:pt x="3" y="32"/>
                </a:cubicBezTo>
                <a:cubicBezTo>
                  <a:pt x="4" y="20"/>
                  <a:pt x="4" y="20"/>
                  <a:pt x="4" y="20"/>
                </a:cubicBezTo>
                <a:cubicBezTo>
                  <a:pt x="48" y="10"/>
                  <a:pt x="48" y="10"/>
                  <a:pt x="48" y="10"/>
                </a:cubicBezTo>
                <a:cubicBezTo>
                  <a:pt x="72" y="5"/>
                  <a:pt x="94" y="1"/>
                  <a:pt x="97" y="0"/>
                </a:cubicBezTo>
                <a:cubicBezTo>
                  <a:pt x="101" y="0"/>
                  <a:pt x="118" y="59"/>
                  <a:pt x="118" y="72"/>
                </a:cubicBezTo>
                <a:cubicBezTo>
                  <a:pt x="118" y="73"/>
                  <a:pt x="108" y="77"/>
                  <a:pt x="95" y="81"/>
                </a:cubicBezTo>
                <a:cubicBezTo>
                  <a:pt x="60" y="90"/>
                  <a:pt x="33" y="100"/>
                  <a:pt x="28" y="103"/>
                </a:cubicBezTo>
                <a:cubicBezTo>
                  <a:pt x="22" y="108"/>
                  <a:pt x="9" y="107"/>
                  <a:pt x="11" y="102"/>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83" name="Freeform 76"/>
          <p:cNvSpPr>
            <a:spLocks/>
          </p:cNvSpPr>
          <p:nvPr userDrawn="1"/>
        </p:nvSpPr>
        <p:spPr bwMode="auto">
          <a:xfrm>
            <a:off x="5482595" y="2782779"/>
            <a:ext cx="26988" cy="25400"/>
          </a:xfrm>
          <a:custGeom>
            <a:avLst/>
            <a:gdLst>
              <a:gd name="T0" fmla="*/ 4 w 18"/>
              <a:gd name="T1" fmla="*/ 13 h 18"/>
              <a:gd name="T2" fmla="*/ 5 w 18"/>
              <a:gd name="T3" fmla="*/ 3 h 18"/>
              <a:gd name="T4" fmla="*/ 15 w 18"/>
              <a:gd name="T5" fmla="*/ 4 h 18"/>
              <a:gd name="T6" fmla="*/ 14 w 18"/>
              <a:gd name="T7" fmla="*/ 14 h 18"/>
              <a:gd name="T8" fmla="*/ 4 w 18"/>
              <a:gd name="T9" fmla="*/ 13 h 18"/>
            </a:gdLst>
            <a:ahLst/>
            <a:cxnLst>
              <a:cxn ang="0">
                <a:pos x="T0" y="T1"/>
              </a:cxn>
              <a:cxn ang="0">
                <a:pos x="T2" y="T3"/>
              </a:cxn>
              <a:cxn ang="0">
                <a:pos x="T4" y="T5"/>
              </a:cxn>
              <a:cxn ang="0">
                <a:pos x="T6" y="T7"/>
              </a:cxn>
              <a:cxn ang="0">
                <a:pos x="T8" y="T9"/>
              </a:cxn>
            </a:cxnLst>
            <a:rect l="0" t="0" r="r" b="b"/>
            <a:pathLst>
              <a:path w="18" h="18">
                <a:moveTo>
                  <a:pt x="4" y="13"/>
                </a:moveTo>
                <a:cubicBezTo>
                  <a:pt x="0" y="9"/>
                  <a:pt x="0" y="7"/>
                  <a:pt x="5" y="3"/>
                </a:cubicBezTo>
                <a:cubicBezTo>
                  <a:pt x="9" y="0"/>
                  <a:pt x="11" y="0"/>
                  <a:pt x="15" y="4"/>
                </a:cubicBezTo>
                <a:cubicBezTo>
                  <a:pt x="18" y="8"/>
                  <a:pt x="18" y="11"/>
                  <a:pt x="14" y="14"/>
                </a:cubicBezTo>
                <a:cubicBezTo>
                  <a:pt x="10" y="18"/>
                  <a:pt x="7" y="17"/>
                  <a:pt x="4" y="13"/>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84" name="Freeform 77"/>
          <p:cNvSpPr>
            <a:spLocks/>
          </p:cNvSpPr>
          <p:nvPr userDrawn="1"/>
        </p:nvSpPr>
        <p:spPr bwMode="black">
          <a:xfrm>
            <a:off x="5617533" y="2655779"/>
            <a:ext cx="117475" cy="182563"/>
          </a:xfrm>
          <a:custGeom>
            <a:avLst/>
            <a:gdLst>
              <a:gd name="T0" fmla="*/ 18 w 81"/>
              <a:gd name="T1" fmla="*/ 96 h 127"/>
              <a:gd name="T2" fmla="*/ 5 w 81"/>
              <a:gd name="T3" fmla="*/ 37 h 127"/>
              <a:gd name="T4" fmla="*/ 5 w 81"/>
              <a:gd name="T5" fmla="*/ 6 h 127"/>
              <a:gd name="T6" fmla="*/ 17 w 81"/>
              <a:gd name="T7" fmla="*/ 18 h 127"/>
              <a:gd name="T8" fmla="*/ 41 w 81"/>
              <a:gd name="T9" fmla="*/ 68 h 127"/>
              <a:gd name="T10" fmla="*/ 81 w 81"/>
              <a:gd name="T11" fmla="*/ 120 h 127"/>
              <a:gd name="T12" fmla="*/ 54 w 81"/>
              <a:gd name="T13" fmla="*/ 126 h 127"/>
              <a:gd name="T14" fmla="*/ 26 w 81"/>
              <a:gd name="T15" fmla="*/ 127 h 127"/>
              <a:gd name="T16" fmla="*/ 18 w 81"/>
              <a:gd name="T17" fmla="*/ 96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127">
                <a:moveTo>
                  <a:pt x="18" y="96"/>
                </a:moveTo>
                <a:cubicBezTo>
                  <a:pt x="14" y="79"/>
                  <a:pt x="8" y="52"/>
                  <a:pt x="5" y="37"/>
                </a:cubicBezTo>
                <a:cubicBezTo>
                  <a:pt x="0" y="14"/>
                  <a:pt x="0" y="9"/>
                  <a:pt x="5" y="6"/>
                </a:cubicBezTo>
                <a:cubicBezTo>
                  <a:pt x="15" y="0"/>
                  <a:pt x="17" y="2"/>
                  <a:pt x="17" y="18"/>
                </a:cubicBezTo>
                <a:cubicBezTo>
                  <a:pt x="17" y="48"/>
                  <a:pt x="21" y="56"/>
                  <a:pt x="41" y="68"/>
                </a:cubicBezTo>
                <a:cubicBezTo>
                  <a:pt x="59" y="79"/>
                  <a:pt x="81" y="108"/>
                  <a:pt x="81" y="120"/>
                </a:cubicBezTo>
                <a:cubicBezTo>
                  <a:pt x="81" y="124"/>
                  <a:pt x="73" y="126"/>
                  <a:pt x="54" y="126"/>
                </a:cubicBezTo>
                <a:cubicBezTo>
                  <a:pt x="26" y="127"/>
                  <a:pt x="26" y="127"/>
                  <a:pt x="26" y="127"/>
                </a:cubicBezTo>
                <a:lnTo>
                  <a:pt x="18" y="96"/>
                </a:ln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85" name="Freeform 78"/>
          <p:cNvSpPr>
            <a:spLocks noEditPoints="1"/>
          </p:cNvSpPr>
          <p:nvPr userDrawn="1"/>
        </p:nvSpPr>
        <p:spPr bwMode="black">
          <a:xfrm>
            <a:off x="4322132" y="4143265"/>
            <a:ext cx="1066800" cy="947739"/>
          </a:xfrm>
          <a:custGeom>
            <a:avLst/>
            <a:gdLst>
              <a:gd name="T0" fmla="*/ 537 w 742"/>
              <a:gd name="T1" fmla="*/ 0 h 660"/>
              <a:gd name="T2" fmla="*/ 530 w 742"/>
              <a:gd name="T3" fmla="*/ 0 h 660"/>
              <a:gd name="T4" fmla="*/ 513 w 742"/>
              <a:gd name="T5" fmla="*/ 2 h 660"/>
              <a:gd name="T6" fmla="*/ 512 w 742"/>
              <a:gd name="T7" fmla="*/ 23 h 660"/>
              <a:gd name="T8" fmla="*/ 497 w 742"/>
              <a:gd name="T9" fmla="*/ 50 h 660"/>
              <a:gd name="T10" fmla="*/ 481 w 742"/>
              <a:gd name="T11" fmla="*/ 42 h 660"/>
              <a:gd name="T12" fmla="*/ 459 w 742"/>
              <a:gd name="T13" fmla="*/ 32 h 660"/>
              <a:gd name="T14" fmla="*/ 342 w 742"/>
              <a:gd name="T15" fmla="*/ 32 h 660"/>
              <a:gd name="T16" fmla="*/ 239 w 742"/>
              <a:gd name="T17" fmla="*/ 32 h 660"/>
              <a:gd name="T18" fmla="*/ 236 w 742"/>
              <a:gd name="T19" fmla="*/ 19 h 660"/>
              <a:gd name="T20" fmla="*/ 233 w 742"/>
              <a:gd name="T21" fmla="*/ 7 h 660"/>
              <a:gd name="T22" fmla="*/ 129 w 742"/>
              <a:gd name="T23" fmla="*/ 9 h 660"/>
              <a:gd name="T24" fmla="*/ 16 w 742"/>
              <a:gd name="T25" fmla="*/ 13 h 660"/>
              <a:gd name="T26" fmla="*/ 5 w 742"/>
              <a:gd name="T27" fmla="*/ 15 h 660"/>
              <a:gd name="T28" fmla="*/ 10 w 742"/>
              <a:gd name="T29" fmla="*/ 46 h 660"/>
              <a:gd name="T30" fmla="*/ 20 w 742"/>
              <a:gd name="T31" fmla="*/ 77 h 660"/>
              <a:gd name="T32" fmla="*/ 29 w 742"/>
              <a:gd name="T33" fmla="*/ 86 h 660"/>
              <a:gd name="T34" fmla="*/ 77 w 742"/>
              <a:gd name="T35" fmla="*/ 82 h 660"/>
              <a:gd name="T36" fmla="*/ 118 w 742"/>
              <a:gd name="T37" fmla="*/ 79 h 660"/>
              <a:gd name="T38" fmla="*/ 141 w 742"/>
              <a:gd name="T39" fmla="*/ 93 h 660"/>
              <a:gd name="T40" fmla="*/ 178 w 742"/>
              <a:gd name="T41" fmla="*/ 111 h 660"/>
              <a:gd name="T42" fmla="*/ 202 w 742"/>
              <a:gd name="T43" fmla="*/ 130 h 660"/>
              <a:gd name="T44" fmla="*/ 226 w 742"/>
              <a:gd name="T45" fmla="*/ 141 h 660"/>
              <a:gd name="T46" fmla="*/ 272 w 742"/>
              <a:gd name="T47" fmla="*/ 123 h 660"/>
              <a:gd name="T48" fmla="*/ 344 w 742"/>
              <a:gd name="T49" fmla="*/ 102 h 660"/>
              <a:gd name="T50" fmla="*/ 366 w 742"/>
              <a:gd name="T51" fmla="*/ 122 h 660"/>
              <a:gd name="T52" fmla="*/ 409 w 742"/>
              <a:gd name="T53" fmla="*/ 166 h 660"/>
              <a:gd name="T54" fmla="*/ 453 w 742"/>
              <a:gd name="T55" fmla="*/ 266 h 660"/>
              <a:gd name="T56" fmla="*/ 465 w 742"/>
              <a:gd name="T57" fmla="*/ 337 h 660"/>
              <a:gd name="T58" fmla="*/ 474 w 742"/>
              <a:gd name="T59" fmla="*/ 375 h 660"/>
              <a:gd name="T60" fmla="*/ 488 w 742"/>
              <a:gd name="T61" fmla="*/ 394 h 660"/>
              <a:gd name="T62" fmla="*/ 510 w 742"/>
              <a:gd name="T63" fmla="*/ 430 h 660"/>
              <a:gd name="T64" fmla="*/ 535 w 742"/>
              <a:gd name="T65" fmla="*/ 465 h 660"/>
              <a:gd name="T66" fmla="*/ 561 w 742"/>
              <a:gd name="T67" fmla="*/ 495 h 660"/>
              <a:gd name="T68" fmla="*/ 583 w 742"/>
              <a:gd name="T69" fmla="*/ 519 h 660"/>
              <a:gd name="T70" fmla="*/ 616 w 742"/>
              <a:gd name="T71" fmla="*/ 549 h 660"/>
              <a:gd name="T72" fmla="*/ 682 w 742"/>
              <a:gd name="T73" fmla="*/ 594 h 660"/>
              <a:gd name="T74" fmla="*/ 722 w 742"/>
              <a:gd name="T75" fmla="*/ 591 h 660"/>
              <a:gd name="T76" fmla="*/ 648 w 742"/>
              <a:gd name="T77" fmla="*/ 648 h 660"/>
              <a:gd name="T78" fmla="*/ 628 w 742"/>
              <a:gd name="T79" fmla="*/ 657 h 660"/>
              <a:gd name="T80" fmla="*/ 630 w 742"/>
              <a:gd name="T81" fmla="*/ 659 h 660"/>
              <a:gd name="T82" fmla="*/ 656 w 742"/>
              <a:gd name="T83" fmla="*/ 650 h 660"/>
              <a:gd name="T84" fmla="*/ 720 w 742"/>
              <a:gd name="T85" fmla="*/ 607 h 660"/>
              <a:gd name="T86" fmla="*/ 728 w 742"/>
              <a:gd name="T87" fmla="*/ 568 h 660"/>
              <a:gd name="T88" fmla="*/ 736 w 742"/>
              <a:gd name="T89" fmla="*/ 527 h 660"/>
              <a:gd name="T90" fmla="*/ 741 w 742"/>
              <a:gd name="T91" fmla="*/ 461 h 660"/>
              <a:gd name="T92" fmla="*/ 728 w 742"/>
              <a:gd name="T93" fmla="*/ 381 h 660"/>
              <a:gd name="T94" fmla="*/ 699 w 742"/>
              <a:gd name="T95" fmla="*/ 325 h 660"/>
              <a:gd name="T96" fmla="*/ 678 w 742"/>
              <a:gd name="T97" fmla="*/ 273 h 660"/>
              <a:gd name="T98" fmla="*/ 640 w 742"/>
              <a:gd name="T99" fmla="*/ 186 h 660"/>
              <a:gd name="T100" fmla="*/ 561 w 742"/>
              <a:gd name="T101" fmla="*/ 17 h 660"/>
              <a:gd name="T102" fmla="*/ 537 w 742"/>
              <a:gd name="T103" fmla="*/ 0 h 660"/>
              <a:gd name="T104" fmla="*/ 652 w 742"/>
              <a:gd name="T105" fmla="*/ 372 h 660"/>
              <a:gd name="T106" fmla="*/ 656 w 742"/>
              <a:gd name="T107" fmla="*/ 373 h 660"/>
              <a:gd name="T108" fmla="*/ 665 w 742"/>
              <a:gd name="T109" fmla="*/ 397 h 660"/>
              <a:gd name="T110" fmla="*/ 642 w 742"/>
              <a:gd name="T111" fmla="*/ 414 h 660"/>
              <a:gd name="T112" fmla="*/ 652 w 742"/>
              <a:gd name="T113" fmla="*/ 372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42" h="660">
                <a:moveTo>
                  <a:pt x="537" y="0"/>
                </a:moveTo>
                <a:cubicBezTo>
                  <a:pt x="535" y="0"/>
                  <a:pt x="532" y="0"/>
                  <a:pt x="530" y="0"/>
                </a:cubicBezTo>
                <a:cubicBezTo>
                  <a:pt x="513" y="2"/>
                  <a:pt x="513" y="2"/>
                  <a:pt x="513" y="2"/>
                </a:cubicBezTo>
                <a:cubicBezTo>
                  <a:pt x="512" y="23"/>
                  <a:pt x="512" y="23"/>
                  <a:pt x="512" y="23"/>
                </a:cubicBezTo>
                <a:cubicBezTo>
                  <a:pt x="511" y="47"/>
                  <a:pt x="511" y="47"/>
                  <a:pt x="497" y="50"/>
                </a:cubicBezTo>
                <a:cubicBezTo>
                  <a:pt x="490" y="51"/>
                  <a:pt x="485" y="49"/>
                  <a:pt x="481" y="42"/>
                </a:cubicBezTo>
                <a:cubicBezTo>
                  <a:pt x="476" y="34"/>
                  <a:pt x="471" y="32"/>
                  <a:pt x="459" y="32"/>
                </a:cubicBezTo>
                <a:cubicBezTo>
                  <a:pt x="451" y="32"/>
                  <a:pt x="398" y="32"/>
                  <a:pt x="342" y="32"/>
                </a:cubicBezTo>
                <a:cubicBezTo>
                  <a:pt x="239" y="32"/>
                  <a:pt x="239" y="32"/>
                  <a:pt x="239" y="32"/>
                </a:cubicBezTo>
                <a:cubicBezTo>
                  <a:pt x="236" y="19"/>
                  <a:pt x="236" y="19"/>
                  <a:pt x="236" y="19"/>
                </a:cubicBezTo>
                <a:cubicBezTo>
                  <a:pt x="233" y="7"/>
                  <a:pt x="233" y="7"/>
                  <a:pt x="233" y="7"/>
                </a:cubicBezTo>
                <a:cubicBezTo>
                  <a:pt x="129" y="9"/>
                  <a:pt x="129" y="9"/>
                  <a:pt x="129" y="9"/>
                </a:cubicBezTo>
                <a:cubicBezTo>
                  <a:pt x="71" y="11"/>
                  <a:pt x="21" y="13"/>
                  <a:pt x="16" y="13"/>
                </a:cubicBezTo>
                <a:cubicBezTo>
                  <a:pt x="12" y="14"/>
                  <a:pt x="7" y="15"/>
                  <a:pt x="5" y="15"/>
                </a:cubicBezTo>
                <a:cubicBezTo>
                  <a:pt x="0" y="16"/>
                  <a:pt x="2" y="25"/>
                  <a:pt x="10" y="46"/>
                </a:cubicBezTo>
                <a:cubicBezTo>
                  <a:pt x="14" y="57"/>
                  <a:pt x="19" y="71"/>
                  <a:pt x="20" y="77"/>
                </a:cubicBezTo>
                <a:cubicBezTo>
                  <a:pt x="22" y="85"/>
                  <a:pt x="24" y="87"/>
                  <a:pt x="29" y="86"/>
                </a:cubicBezTo>
                <a:cubicBezTo>
                  <a:pt x="33" y="85"/>
                  <a:pt x="55" y="83"/>
                  <a:pt x="77" y="82"/>
                </a:cubicBezTo>
                <a:cubicBezTo>
                  <a:pt x="118" y="79"/>
                  <a:pt x="118" y="79"/>
                  <a:pt x="118" y="79"/>
                </a:cubicBezTo>
                <a:cubicBezTo>
                  <a:pt x="141" y="93"/>
                  <a:pt x="141" y="93"/>
                  <a:pt x="141" y="93"/>
                </a:cubicBezTo>
                <a:cubicBezTo>
                  <a:pt x="154" y="101"/>
                  <a:pt x="170" y="109"/>
                  <a:pt x="178" y="111"/>
                </a:cubicBezTo>
                <a:cubicBezTo>
                  <a:pt x="187" y="114"/>
                  <a:pt x="196" y="121"/>
                  <a:pt x="202" y="130"/>
                </a:cubicBezTo>
                <a:cubicBezTo>
                  <a:pt x="211" y="143"/>
                  <a:pt x="213" y="144"/>
                  <a:pt x="226" y="141"/>
                </a:cubicBezTo>
                <a:cubicBezTo>
                  <a:pt x="234" y="140"/>
                  <a:pt x="255" y="131"/>
                  <a:pt x="272" y="123"/>
                </a:cubicBezTo>
                <a:cubicBezTo>
                  <a:pt x="321" y="98"/>
                  <a:pt x="330" y="96"/>
                  <a:pt x="344" y="102"/>
                </a:cubicBezTo>
                <a:cubicBezTo>
                  <a:pt x="351" y="106"/>
                  <a:pt x="361" y="114"/>
                  <a:pt x="366" y="122"/>
                </a:cubicBezTo>
                <a:cubicBezTo>
                  <a:pt x="371" y="130"/>
                  <a:pt x="390" y="149"/>
                  <a:pt x="409" y="166"/>
                </a:cubicBezTo>
                <a:cubicBezTo>
                  <a:pt x="447" y="201"/>
                  <a:pt x="449" y="206"/>
                  <a:pt x="453" y="266"/>
                </a:cubicBezTo>
                <a:cubicBezTo>
                  <a:pt x="454" y="291"/>
                  <a:pt x="459" y="317"/>
                  <a:pt x="465" y="337"/>
                </a:cubicBezTo>
                <a:cubicBezTo>
                  <a:pt x="470" y="354"/>
                  <a:pt x="474" y="371"/>
                  <a:pt x="474" y="375"/>
                </a:cubicBezTo>
                <a:cubicBezTo>
                  <a:pt x="474" y="379"/>
                  <a:pt x="480" y="387"/>
                  <a:pt x="488" y="394"/>
                </a:cubicBezTo>
                <a:cubicBezTo>
                  <a:pt x="497" y="401"/>
                  <a:pt x="505" y="414"/>
                  <a:pt x="510" y="430"/>
                </a:cubicBezTo>
                <a:cubicBezTo>
                  <a:pt x="517" y="448"/>
                  <a:pt x="523" y="456"/>
                  <a:pt x="535" y="465"/>
                </a:cubicBezTo>
                <a:cubicBezTo>
                  <a:pt x="543" y="471"/>
                  <a:pt x="555" y="484"/>
                  <a:pt x="561" y="495"/>
                </a:cubicBezTo>
                <a:cubicBezTo>
                  <a:pt x="567" y="506"/>
                  <a:pt x="577" y="516"/>
                  <a:pt x="583" y="519"/>
                </a:cubicBezTo>
                <a:cubicBezTo>
                  <a:pt x="588" y="522"/>
                  <a:pt x="603" y="535"/>
                  <a:pt x="616" y="549"/>
                </a:cubicBezTo>
                <a:cubicBezTo>
                  <a:pt x="639" y="576"/>
                  <a:pt x="671" y="597"/>
                  <a:pt x="682" y="594"/>
                </a:cubicBezTo>
                <a:cubicBezTo>
                  <a:pt x="698" y="589"/>
                  <a:pt x="722" y="587"/>
                  <a:pt x="722" y="591"/>
                </a:cubicBezTo>
                <a:cubicBezTo>
                  <a:pt x="722" y="605"/>
                  <a:pt x="678" y="638"/>
                  <a:pt x="648" y="648"/>
                </a:cubicBezTo>
                <a:cubicBezTo>
                  <a:pt x="639" y="650"/>
                  <a:pt x="630" y="654"/>
                  <a:pt x="628" y="657"/>
                </a:cubicBezTo>
                <a:cubicBezTo>
                  <a:pt x="625" y="659"/>
                  <a:pt x="626" y="660"/>
                  <a:pt x="630" y="659"/>
                </a:cubicBezTo>
                <a:cubicBezTo>
                  <a:pt x="633" y="658"/>
                  <a:pt x="645" y="654"/>
                  <a:pt x="656" y="650"/>
                </a:cubicBezTo>
                <a:cubicBezTo>
                  <a:pt x="678" y="643"/>
                  <a:pt x="711" y="620"/>
                  <a:pt x="720" y="607"/>
                </a:cubicBezTo>
                <a:cubicBezTo>
                  <a:pt x="723" y="602"/>
                  <a:pt x="727" y="584"/>
                  <a:pt x="728" y="568"/>
                </a:cubicBezTo>
                <a:cubicBezTo>
                  <a:pt x="729" y="552"/>
                  <a:pt x="733" y="533"/>
                  <a:pt x="736" y="527"/>
                </a:cubicBezTo>
                <a:cubicBezTo>
                  <a:pt x="741" y="519"/>
                  <a:pt x="742" y="503"/>
                  <a:pt x="741" y="461"/>
                </a:cubicBezTo>
                <a:cubicBezTo>
                  <a:pt x="740" y="408"/>
                  <a:pt x="740" y="404"/>
                  <a:pt x="728" y="381"/>
                </a:cubicBezTo>
                <a:cubicBezTo>
                  <a:pt x="721" y="368"/>
                  <a:pt x="708" y="343"/>
                  <a:pt x="699" y="325"/>
                </a:cubicBezTo>
                <a:cubicBezTo>
                  <a:pt x="690" y="307"/>
                  <a:pt x="680" y="284"/>
                  <a:pt x="678" y="273"/>
                </a:cubicBezTo>
                <a:cubicBezTo>
                  <a:pt x="670" y="234"/>
                  <a:pt x="661" y="214"/>
                  <a:pt x="640" y="186"/>
                </a:cubicBezTo>
                <a:cubicBezTo>
                  <a:pt x="607" y="142"/>
                  <a:pt x="561" y="45"/>
                  <a:pt x="561" y="17"/>
                </a:cubicBezTo>
                <a:cubicBezTo>
                  <a:pt x="561" y="6"/>
                  <a:pt x="553" y="0"/>
                  <a:pt x="537" y="0"/>
                </a:cubicBezTo>
                <a:close/>
                <a:moveTo>
                  <a:pt x="652" y="372"/>
                </a:moveTo>
                <a:cubicBezTo>
                  <a:pt x="653" y="372"/>
                  <a:pt x="654" y="373"/>
                  <a:pt x="656" y="373"/>
                </a:cubicBezTo>
                <a:cubicBezTo>
                  <a:pt x="666" y="376"/>
                  <a:pt x="667" y="377"/>
                  <a:pt x="665" y="397"/>
                </a:cubicBezTo>
                <a:cubicBezTo>
                  <a:pt x="664" y="420"/>
                  <a:pt x="659" y="423"/>
                  <a:pt x="642" y="414"/>
                </a:cubicBezTo>
                <a:cubicBezTo>
                  <a:pt x="622" y="404"/>
                  <a:pt x="631" y="372"/>
                  <a:pt x="652" y="372"/>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86" name="Freeform 79"/>
          <p:cNvSpPr>
            <a:spLocks/>
          </p:cNvSpPr>
          <p:nvPr userDrawn="1"/>
        </p:nvSpPr>
        <p:spPr bwMode="black">
          <a:xfrm>
            <a:off x="4549145" y="3514617"/>
            <a:ext cx="622300" cy="681039"/>
          </a:xfrm>
          <a:custGeom>
            <a:avLst/>
            <a:gdLst>
              <a:gd name="T0" fmla="*/ 333 w 433"/>
              <a:gd name="T1" fmla="*/ 465 h 474"/>
              <a:gd name="T2" fmla="*/ 210 w 433"/>
              <a:gd name="T3" fmla="*/ 457 h 474"/>
              <a:gd name="T4" fmla="*/ 93 w 433"/>
              <a:gd name="T5" fmla="*/ 457 h 474"/>
              <a:gd name="T6" fmla="*/ 90 w 433"/>
              <a:gd name="T7" fmla="*/ 444 h 474"/>
              <a:gd name="T8" fmla="*/ 82 w 433"/>
              <a:gd name="T9" fmla="*/ 432 h 474"/>
              <a:gd name="T10" fmla="*/ 77 w 433"/>
              <a:gd name="T11" fmla="*/ 431 h 474"/>
              <a:gd name="T12" fmla="*/ 71 w 433"/>
              <a:gd name="T13" fmla="*/ 396 h 474"/>
              <a:gd name="T14" fmla="*/ 65 w 433"/>
              <a:gd name="T15" fmla="*/ 335 h 474"/>
              <a:gd name="T16" fmla="*/ 56 w 433"/>
              <a:gd name="T17" fmla="*/ 245 h 474"/>
              <a:gd name="T18" fmla="*/ 35 w 433"/>
              <a:gd name="T19" fmla="*/ 157 h 474"/>
              <a:gd name="T20" fmla="*/ 23 w 433"/>
              <a:gd name="T21" fmla="*/ 107 h 474"/>
              <a:gd name="T22" fmla="*/ 3 w 433"/>
              <a:gd name="T23" fmla="*/ 17 h 474"/>
              <a:gd name="T24" fmla="*/ 14 w 433"/>
              <a:gd name="T25" fmla="*/ 13 h 474"/>
              <a:gd name="T26" fmla="*/ 105 w 433"/>
              <a:gd name="T27" fmla="*/ 7 h 474"/>
              <a:gd name="T28" fmla="*/ 154 w 433"/>
              <a:gd name="T29" fmla="*/ 2 h 474"/>
              <a:gd name="T30" fmla="*/ 189 w 433"/>
              <a:gd name="T31" fmla="*/ 0 h 474"/>
              <a:gd name="T32" fmla="*/ 185 w 433"/>
              <a:gd name="T33" fmla="*/ 12 h 474"/>
              <a:gd name="T34" fmla="*/ 193 w 433"/>
              <a:gd name="T35" fmla="*/ 34 h 474"/>
              <a:gd name="T36" fmla="*/ 212 w 433"/>
              <a:gd name="T37" fmla="*/ 46 h 474"/>
              <a:gd name="T38" fmla="*/ 243 w 433"/>
              <a:gd name="T39" fmla="*/ 77 h 474"/>
              <a:gd name="T40" fmla="*/ 287 w 433"/>
              <a:gd name="T41" fmla="*/ 121 h 474"/>
              <a:gd name="T42" fmla="*/ 363 w 433"/>
              <a:gd name="T43" fmla="*/ 215 h 474"/>
              <a:gd name="T44" fmla="*/ 380 w 433"/>
              <a:gd name="T45" fmla="*/ 238 h 474"/>
              <a:gd name="T46" fmla="*/ 395 w 433"/>
              <a:gd name="T47" fmla="*/ 254 h 474"/>
              <a:gd name="T48" fmla="*/ 428 w 433"/>
              <a:gd name="T49" fmla="*/ 289 h 474"/>
              <a:gd name="T50" fmla="*/ 432 w 433"/>
              <a:gd name="T51" fmla="*/ 296 h 474"/>
              <a:gd name="T52" fmla="*/ 415 w 433"/>
              <a:gd name="T53" fmla="*/ 343 h 474"/>
              <a:gd name="T54" fmla="*/ 401 w 433"/>
              <a:gd name="T55" fmla="*/ 406 h 474"/>
              <a:gd name="T56" fmla="*/ 396 w 433"/>
              <a:gd name="T57" fmla="*/ 426 h 474"/>
              <a:gd name="T58" fmla="*/ 345 w 433"/>
              <a:gd name="T59" fmla="*/ 427 h 474"/>
              <a:gd name="T60" fmla="*/ 341 w 433"/>
              <a:gd name="T61" fmla="*/ 444 h 474"/>
              <a:gd name="T62" fmla="*/ 341 w 433"/>
              <a:gd name="T63" fmla="*/ 467 h 474"/>
              <a:gd name="T64" fmla="*/ 333 w 433"/>
              <a:gd name="T65" fmla="*/ 465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3" h="474">
                <a:moveTo>
                  <a:pt x="333" y="465"/>
                </a:moveTo>
                <a:cubicBezTo>
                  <a:pt x="327" y="457"/>
                  <a:pt x="327" y="457"/>
                  <a:pt x="210" y="457"/>
                </a:cubicBezTo>
                <a:cubicBezTo>
                  <a:pt x="93" y="457"/>
                  <a:pt x="93" y="457"/>
                  <a:pt x="93" y="457"/>
                </a:cubicBezTo>
                <a:cubicBezTo>
                  <a:pt x="90" y="444"/>
                  <a:pt x="90" y="444"/>
                  <a:pt x="90" y="444"/>
                </a:cubicBezTo>
                <a:cubicBezTo>
                  <a:pt x="88" y="436"/>
                  <a:pt x="84" y="431"/>
                  <a:pt x="82" y="432"/>
                </a:cubicBezTo>
                <a:cubicBezTo>
                  <a:pt x="79" y="432"/>
                  <a:pt x="77" y="432"/>
                  <a:pt x="77" y="431"/>
                </a:cubicBezTo>
                <a:cubicBezTo>
                  <a:pt x="77" y="430"/>
                  <a:pt x="74" y="414"/>
                  <a:pt x="71" y="396"/>
                </a:cubicBezTo>
                <a:cubicBezTo>
                  <a:pt x="67" y="378"/>
                  <a:pt x="65" y="350"/>
                  <a:pt x="65" y="335"/>
                </a:cubicBezTo>
                <a:cubicBezTo>
                  <a:pt x="68" y="274"/>
                  <a:pt x="67" y="261"/>
                  <a:pt x="56" y="245"/>
                </a:cubicBezTo>
                <a:cubicBezTo>
                  <a:pt x="46" y="230"/>
                  <a:pt x="40" y="205"/>
                  <a:pt x="35" y="157"/>
                </a:cubicBezTo>
                <a:cubicBezTo>
                  <a:pt x="33" y="147"/>
                  <a:pt x="28" y="124"/>
                  <a:pt x="23" y="107"/>
                </a:cubicBezTo>
                <a:cubicBezTo>
                  <a:pt x="8" y="54"/>
                  <a:pt x="0" y="21"/>
                  <a:pt x="3" y="17"/>
                </a:cubicBezTo>
                <a:cubicBezTo>
                  <a:pt x="4" y="15"/>
                  <a:pt x="9" y="13"/>
                  <a:pt x="14" y="13"/>
                </a:cubicBezTo>
                <a:cubicBezTo>
                  <a:pt x="23" y="14"/>
                  <a:pt x="75" y="10"/>
                  <a:pt x="105" y="7"/>
                </a:cubicBezTo>
                <a:cubicBezTo>
                  <a:pt x="113" y="6"/>
                  <a:pt x="135" y="4"/>
                  <a:pt x="154" y="2"/>
                </a:cubicBezTo>
                <a:cubicBezTo>
                  <a:pt x="189" y="0"/>
                  <a:pt x="189" y="0"/>
                  <a:pt x="189" y="0"/>
                </a:cubicBezTo>
                <a:cubicBezTo>
                  <a:pt x="185" y="12"/>
                  <a:pt x="185" y="12"/>
                  <a:pt x="185" y="12"/>
                </a:cubicBezTo>
                <a:cubicBezTo>
                  <a:pt x="182" y="22"/>
                  <a:pt x="183" y="25"/>
                  <a:pt x="193" y="34"/>
                </a:cubicBezTo>
                <a:cubicBezTo>
                  <a:pt x="198" y="39"/>
                  <a:pt x="207" y="45"/>
                  <a:pt x="212" y="46"/>
                </a:cubicBezTo>
                <a:cubicBezTo>
                  <a:pt x="217" y="48"/>
                  <a:pt x="231" y="61"/>
                  <a:pt x="243" y="77"/>
                </a:cubicBezTo>
                <a:cubicBezTo>
                  <a:pt x="256" y="92"/>
                  <a:pt x="275" y="112"/>
                  <a:pt x="287" y="121"/>
                </a:cubicBezTo>
                <a:cubicBezTo>
                  <a:pt x="311" y="140"/>
                  <a:pt x="349" y="186"/>
                  <a:pt x="363" y="215"/>
                </a:cubicBezTo>
                <a:cubicBezTo>
                  <a:pt x="369" y="227"/>
                  <a:pt x="377" y="237"/>
                  <a:pt x="380" y="238"/>
                </a:cubicBezTo>
                <a:cubicBezTo>
                  <a:pt x="384" y="240"/>
                  <a:pt x="391" y="246"/>
                  <a:pt x="395" y="254"/>
                </a:cubicBezTo>
                <a:cubicBezTo>
                  <a:pt x="405" y="271"/>
                  <a:pt x="421" y="289"/>
                  <a:pt x="428" y="289"/>
                </a:cubicBezTo>
                <a:cubicBezTo>
                  <a:pt x="432" y="289"/>
                  <a:pt x="433" y="291"/>
                  <a:pt x="432" y="296"/>
                </a:cubicBezTo>
                <a:cubicBezTo>
                  <a:pt x="430" y="299"/>
                  <a:pt x="423" y="321"/>
                  <a:pt x="415" y="343"/>
                </a:cubicBezTo>
                <a:cubicBezTo>
                  <a:pt x="406" y="370"/>
                  <a:pt x="401" y="390"/>
                  <a:pt x="401" y="406"/>
                </a:cubicBezTo>
                <a:cubicBezTo>
                  <a:pt x="401" y="423"/>
                  <a:pt x="400" y="428"/>
                  <a:pt x="396" y="426"/>
                </a:cubicBezTo>
                <a:cubicBezTo>
                  <a:pt x="391" y="423"/>
                  <a:pt x="356" y="424"/>
                  <a:pt x="345" y="427"/>
                </a:cubicBezTo>
                <a:cubicBezTo>
                  <a:pt x="340" y="428"/>
                  <a:pt x="339" y="432"/>
                  <a:pt x="341" y="444"/>
                </a:cubicBezTo>
                <a:cubicBezTo>
                  <a:pt x="343" y="452"/>
                  <a:pt x="343" y="462"/>
                  <a:pt x="341" y="467"/>
                </a:cubicBezTo>
                <a:cubicBezTo>
                  <a:pt x="338" y="474"/>
                  <a:pt x="338" y="474"/>
                  <a:pt x="333" y="465"/>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421" name="Freeform 86"/>
          <p:cNvSpPr>
            <a:spLocks/>
          </p:cNvSpPr>
          <p:nvPr userDrawn="1"/>
        </p:nvSpPr>
        <p:spPr bwMode="black">
          <a:xfrm>
            <a:off x="3288669" y="2235091"/>
            <a:ext cx="668339" cy="458788"/>
          </a:xfrm>
          <a:custGeom>
            <a:avLst/>
            <a:gdLst>
              <a:gd name="T0" fmla="*/ 359 w 465"/>
              <a:gd name="T1" fmla="*/ 311 h 319"/>
              <a:gd name="T2" fmla="*/ 249 w 465"/>
              <a:gd name="T3" fmla="*/ 301 h 319"/>
              <a:gd name="T4" fmla="*/ 123 w 465"/>
              <a:gd name="T5" fmla="*/ 297 h 319"/>
              <a:gd name="T6" fmla="*/ 75 w 465"/>
              <a:gd name="T7" fmla="*/ 296 h 319"/>
              <a:gd name="T8" fmla="*/ 50 w 465"/>
              <a:gd name="T9" fmla="*/ 296 h 319"/>
              <a:gd name="T10" fmla="*/ 42 w 465"/>
              <a:gd name="T11" fmla="*/ 279 h 319"/>
              <a:gd name="T12" fmla="*/ 32 w 465"/>
              <a:gd name="T13" fmla="*/ 236 h 319"/>
              <a:gd name="T14" fmla="*/ 23 w 465"/>
              <a:gd name="T15" fmla="*/ 160 h 319"/>
              <a:gd name="T16" fmla="*/ 11 w 465"/>
              <a:gd name="T17" fmla="*/ 128 h 319"/>
              <a:gd name="T18" fmla="*/ 1 w 465"/>
              <a:gd name="T19" fmla="*/ 59 h 319"/>
              <a:gd name="T20" fmla="*/ 1 w 465"/>
              <a:gd name="T21" fmla="*/ 5 h 319"/>
              <a:gd name="T22" fmla="*/ 194 w 465"/>
              <a:gd name="T23" fmla="*/ 1 h 319"/>
              <a:gd name="T24" fmla="*/ 387 w 465"/>
              <a:gd name="T25" fmla="*/ 2 h 319"/>
              <a:gd name="T26" fmla="*/ 390 w 465"/>
              <a:gd name="T27" fmla="*/ 16 h 319"/>
              <a:gd name="T28" fmla="*/ 396 w 465"/>
              <a:gd name="T29" fmla="*/ 54 h 319"/>
              <a:gd name="T30" fmla="*/ 423 w 465"/>
              <a:gd name="T31" fmla="*/ 102 h 319"/>
              <a:gd name="T32" fmla="*/ 436 w 465"/>
              <a:gd name="T33" fmla="*/ 115 h 319"/>
              <a:gd name="T34" fmla="*/ 450 w 465"/>
              <a:gd name="T35" fmla="*/ 136 h 319"/>
              <a:gd name="T36" fmla="*/ 438 w 465"/>
              <a:gd name="T37" fmla="*/ 211 h 319"/>
              <a:gd name="T38" fmla="*/ 414 w 465"/>
              <a:gd name="T39" fmla="*/ 217 h 319"/>
              <a:gd name="T40" fmla="*/ 397 w 465"/>
              <a:gd name="T41" fmla="*/ 237 h 319"/>
              <a:gd name="T42" fmla="*/ 378 w 465"/>
              <a:gd name="T43" fmla="*/ 311 h 319"/>
              <a:gd name="T44" fmla="*/ 359 w 465"/>
              <a:gd name="T45" fmla="*/ 311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65" h="319">
                <a:moveTo>
                  <a:pt x="359" y="311"/>
                </a:moveTo>
                <a:cubicBezTo>
                  <a:pt x="352" y="304"/>
                  <a:pt x="342" y="304"/>
                  <a:pt x="249" y="301"/>
                </a:cubicBezTo>
                <a:cubicBezTo>
                  <a:pt x="193" y="300"/>
                  <a:pt x="136" y="298"/>
                  <a:pt x="123" y="297"/>
                </a:cubicBezTo>
                <a:cubicBezTo>
                  <a:pt x="110" y="297"/>
                  <a:pt x="88" y="296"/>
                  <a:pt x="75" y="296"/>
                </a:cubicBezTo>
                <a:cubicBezTo>
                  <a:pt x="50" y="296"/>
                  <a:pt x="50" y="296"/>
                  <a:pt x="50" y="296"/>
                </a:cubicBezTo>
                <a:cubicBezTo>
                  <a:pt x="42" y="279"/>
                  <a:pt x="42" y="279"/>
                  <a:pt x="42" y="279"/>
                </a:cubicBezTo>
                <a:cubicBezTo>
                  <a:pt x="38" y="269"/>
                  <a:pt x="33" y="250"/>
                  <a:pt x="32" y="236"/>
                </a:cubicBezTo>
                <a:cubicBezTo>
                  <a:pt x="29" y="210"/>
                  <a:pt x="26" y="186"/>
                  <a:pt x="23" y="160"/>
                </a:cubicBezTo>
                <a:cubicBezTo>
                  <a:pt x="22" y="153"/>
                  <a:pt x="17" y="139"/>
                  <a:pt x="11" y="128"/>
                </a:cubicBezTo>
                <a:cubicBezTo>
                  <a:pt x="3" y="111"/>
                  <a:pt x="2" y="103"/>
                  <a:pt x="1" y="59"/>
                </a:cubicBezTo>
                <a:cubicBezTo>
                  <a:pt x="1" y="32"/>
                  <a:pt x="0" y="7"/>
                  <a:pt x="1" y="5"/>
                </a:cubicBezTo>
                <a:cubicBezTo>
                  <a:pt x="1" y="1"/>
                  <a:pt x="41" y="0"/>
                  <a:pt x="194" y="1"/>
                </a:cubicBezTo>
                <a:cubicBezTo>
                  <a:pt x="387" y="2"/>
                  <a:pt x="387" y="2"/>
                  <a:pt x="387" y="2"/>
                </a:cubicBezTo>
                <a:cubicBezTo>
                  <a:pt x="390" y="16"/>
                  <a:pt x="390" y="16"/>
                  <a:pt x="390" y="16"/>
                </a:cubicBezTo>
                <a:cubicBezTo>
                  <a:pt x="392" y="23"/>
                  <a:pt x="394" y="40"/>
                  <a:pt x="396" y="54"/>
                </a:cubicBezTo>
                <a:cubicBezTo>
                  <a:pt x="398" y="80"/>
                  <a:pt x="409" y="98"/>
                  <a:pt x="423" y="102"/>
                </a:cubicBezTo>
                <a:cubicBezTo>
                  <a:pt x="428" y="103"/>
                  <a:pt x="434" y="109"/>
                  <a:pt x="436" y="115"/>
                </a:cubicBezTo>
                <a:cubicBezTo>
                  <a:pt x="439" y="121"/>
                  <a:pt x="445" y="130"/>
                  <a:pt x="450" y="136"/>
                </a:cubicBezTo>
                <a:cubicBezTo>
                  <a:pt x="465" y="155"/>
                  <a:pt x="458" y="201"/>
                  <a:pt x="438" y="211"/>
                </a:cubicBezTo>
                <a:cubicBezTo>
                  <a:pt x="434" y="213"/>
                  <a:pt x="423" y="216"/>
                  <a:pt x="414" y="217"/>
                </a:cubicBezTo>
                <a:cubicBezTo>
                  <a:pt x="397" y="220"/>
                  <a:pt x="397" y="221"/>
                  <a:pt x="397" y="237"/>
                </a:cubicBezTo>
                <a:cubicBezTo>
                  <a:pt x="395" y="298"/>
                  <a:pt x="395" y="299"/>
                  <a:pt x="378" y="311"/>
                </a:cubicBezTo>
                <a:cubicBezTo>
                  <a:pt x="367" y="319"/>
                  <a:pt x="366" y="319"/>
                  <a:pt x="359" y="311"/>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422" name="Freeform 87"/>
          <p:cNvSpPr>
            <a:spLocks/>
          </p:cNvSpPr>
          <p:nvPr userDrawn="1"/>
        </p:nvSpPr>
        <p:spPr bwMode="black">
          <a:xfrm>
            <a:off x="1055055" y="995253"/>
            <a:ext cx="706439" cy="1173163"/>
          </a:xfrm>
          <a:custGeom>
            <a:avLst/>
            <a:gdLst>
              <a:gd name="T0" fmla="*/ 417 w 492"/>
              <a:gd name="T1" fmla="*/ 812 h 817"/>
              <a:gd name="T2" fmla="*/ 283 w 492"/>
              <a:gd name="T3" fmla="*/ 771 h 817"/>
              <a:gd name="T4" fmla="*/ 127 w 492"/>
              <a:gd name="T5" fmla="*/ 722 h 817"/>
              <a:gd name="T6" fmla="*/ 48 w 492"/>
              <a:gd name="T7" fmla="*/ 698 h 817"/>
              <a:gd name="T8" fmla="*/ 28 w 492"/>
              <a:gd name="T9" fmla="*/ 619 h 817"/>
              <a:gd name="T10" fmla="*/ 49 w 492"/>
              <a:gd name="T11" fmla="*/ 549 h 817"/>
              <a:gd name="T12" fmla="*/ 64 w 492"/>
              <a:gd name="T13" fmla="*/ 516 h 817"/>
              <a:gd name="T14" fmla="*/ 73 w 492"/>
              <a:gd name="T15" fmla="*/ 480 h 817"/>
              <a:gd name="T16" fmla="*/ 70 w 492"/>
              <a:gd name="T17" fmla="*/ 455 h 817"/>
              <a:gd name="T18" fmla="*/ 84 w 492"/>
              <a:gd name="T19" fmla="*/ 436 h 817"/>
              <a:gd name="T20" fmla="*/ 119 w 492"/>
              <a:gd name="T21" fmla="*/ 400 h 817"/>
              <a:gd name="T22" fmla="*/ 135 w 492"/>
              <a:gd name="T23" fmla="*/ 380 h 817"/>
              <a:gd name="T24" fmla="*/ 151 w 492"/>
              <a:gd name="T25" fmla="*/ 365 h 817"/>
              <a:gd name="T26" fmla="*/ 145 w 492"/>
              <a:gd name="T27" fmla="*/ 333 h 817"/>
              <a:gd name="T28" fmla="*/ 156 w 492"/>
              <a:gd name="T29" fmla="*/ 197 h 817"/>
              <a:gd name="T30" fmla="*/ 198 w 492"/>
              <a:gd name="T31" fmla="*/ 79 h 817"/>
              <a:gd name="T32" fmla="*/ 225 w 492"/>
              <a:gd name="T33" fmla="*/ 3 h 817"/>
              <a:gd name="T34" fmla="*/ 275 w 492"/>
              <a:gd name="T35" fmla="*/ 19 h 817"/>
              <a:gd name="T36" fmla="*/ 265 w 492"/>
              <a:gd name="T37" fmla="*/ 61 h 817"/>
              <a:gd name="T38" fmla="*/ 255 w 492"/>
              <a:gd name="T39" fmla="*/ 131 h 817"/>
              <a:gd name="T40" fmla="*/ 255 w 492"/>
              <a:gd name="T41" fmla="*/ 169 h 817"/>
              <a:gd name="T42" fmla="*/ 271 w 492"/>
              <a:gd name="T43" fmla="*/ 205 h 817"/>
              <a:gd name="T44" fmla="*/ 289 w 492"/>
              <a:gd name="T45" fmla="*/ 247 h 817"/>
              <a:gd name="T46" fmla="*/ 312 w 492"/>
              <a:gd name="T47" fmla="*/ 286 h 817"/>
              <a:gd name="T48" fmla="*/ 307 w 492"/>
              <a:gd name="T49" fmla="*/ 317 h 817"/>
              <a:gd name="T50" fmla="*/ 299 w 492"/>
              <a:gd name="T51" fmla="*/ 341 h 817"/>
              <a:gd name="T52" fmla="*/ 291 w 492"/>
              <a:gd name="T53" fmla="*/ 357 h 817"/>
              <a:gd name="T54" fmla="*/ 275 w 492"/>
              <a:gd name="T55" fmla="*/ 391 h 817"/>
              <a:gd name="T56" fmla="*/ 289 w 492"/>
              <a:gd name="T57" fmla="*/ 406 h 817"/>
              <a:gd name="T58" fmla="*/ 312 w 492"/>
              <a:gd name="T59" fmla="*/ 408 h 817"/>
              <a:gd name="T60" fmla="*/ 326 w 492"/>
              <a:gd name="T61" fmla="*/ 419 h 817"/>
              <a:gd name="T62" fmla="*/ 333 w 492"/>
              <a:gd name="T63" fmla="*/ 452 h 817"/>
              <a:gd name="T64" fmla="*/ 337 w 492"/>
              <a:gd name="T65" fmla="*/ 474 h 817"/>
              <a:gd name="T66" fmla="*/ 341 w 492"/>
              <a:gd name="T67" fmla="*/ 491 h 817"/>
              <a:gd name="T68" fmla="*/ 359 w 492"/>
              <a:gd name="T69" fmla="*/ 545 h 817"/>
              <a:gd name="T70" fmla="*/ 391 w 492"/>
              <a:gd name="T71" fmla="*/ 552 h 817"/>
              <a:gd name="T72" fmla="*/ 440 w 492"/>
              <a:gd name="T73" fmla="*/ 556 h 817"/>
              <a:gd name="T74" fmla="*/ 474 w 492"/>
              <a:gd name="T75" fmla="*/ 561 h 817"/>
              <a:gd name="T76" fmla="*/ 490 w 492"/>
              <a:gd name="T77" fmla="*/ 577 h 817"/>
              <a:gd name="T78" fmla="*/ 469 w 492"/>
              <a:gd name="T79" fmla="*/ 667 h 817"/>
              <a:gd name="T80" fmla="*/ 442 w 492"/>
              <a:gd name="T81" fmla="*/ 781 h 817"/>
              <a:gd name="T82" fmla="*/ 433 w 492"/>
              <a:gd name="T83" fmla="*/ 817 h 817"/>
              <a:gd name="T84" fmla="*/ 417 w 492"/>
              <a:gd name="T85" fmla="*/ 812 h 8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2" h="817">
                <a:moveTo>
                  <a:pt x="417" y="812"/>
                </a:moveTo>
                <a:cubicBezTo>
                  <a:pt x="408" y="809"/>
                  <a:pt x="348" y="791"/>
                  <a:pt x="283" y="771"/>
                </a:cubicBezTo>
                <a:cubicBezTo>
                  <a:pt x="218" y="750"/>
                  <a:pt x="148" y="728"/>
                  <a:pt x="127" y="722"/>
                </a:cubicBezTo>
                <a:cubicBezTo>
                  <a:pt x="106" y="715"/>
                  <a:pt x="71" y="705"/>
                  <a:pt x="48" y="698"/>
                </a:cubicBezTo>
                <a:cubicBezTo>
                  <a:pt x="0" y="683"/>
                  <a:pt x="2" y="692"/>
                  <a:pt x="28" y="619"/>
                </a:cubicBezTo>
                <a:cubicBezTo>
                  <a:pt x="38" y="591"/>
                  <a:pt x="47" y="560"/>
                  <a:pt x="49" y="549"/>
                </a:cubicBezTo>
                <a:cubicBezTo>
                  <a:pt x="51" y="534"/>
                  <a:pt x="55" y="525"/>
                  <a:pt x="64" y="516"/>
                </a:cubicBezTo>
                <a:cubicBezTo>
                  <a:pt x="75" y="504"/>
                  <a:pt x="76" y="502"/>
                  <a:pt x="73" y="480"/>
                </a:cubicBezTo>
                <a:cubicBezTo>
                  <a:pt x="72" y="467"/>
                  <a:pt x="70" y="456"/>
                  <a:pt x="70" y="455"/>
                </a:cubicBezTo>
                <a:cubicBezTo>
                  <a:pt x="70" y="446"/>
                  <a:pt x="73" y="442"/>
                  <a:pt x="84" y="436"/>
                </a:cubicBezTo>
                <a:cubicBezTo>
                  <a:pt x="98" y="429"/>
                  <a:pt x="119" y="407"/>
                  <a:pt x="119" y="400"/>
                </a:cubicBezTo>
                <a:cubicBezTo>
                  <a:pt x="119" y="398"/>
                  <a:pt x="126" y="389"/>
                  <a:pt x="135" y="380"/>
                </a:cubicBezTo>
                <a:cubicBezTo>
                  <a:pt x="151" y="365"/>
                  <a:pt x="151" y="365"/>
                  <a:pt x="151" y="365"/>
                </a:cubicBezTo>
                <a:cubicBezTo>
                  <a:pt x="145" y="333"/>
                  <a:pt x="145" y="333"/>
                  <a:pt x="145" y="333"/>
                </a:cubicBezTo>
                <a:cubicBezTo>
                  <a:pt x="135" y="280"/>
                  <a:pt x="138" y="249"/>
                  <a:pt x="156" y="197"/>
                </a:cubicBezTo>
                <a:cubicBezTo>
                  <a:pt x="165" y="173"/>
                  <a:pt x="183" y="119"/>
                  <a:pt x="198" y="79"/>
                </a:cubicBezTo>
                <a:cubicBezTo>
                  <a:pt x="212" y="38"/>
                  <a:pt x="224" y="4"/>
                  <a:pt x="225" y="3"/>
                </a:cubicBezTo>
                <a:cubicBezTo>
                  <a:pt x="228" y="0"/>
                  <a:pt x="275" y="15"/>
                  <a:pt x="275" y="19"/>
                </a:cubicBezTo>
                <a:cubicBezTo>
                  <a:pt x="275" y="20"/>
                  <a:pt x="271" y="39"/>
                  <a:pt x="265" y="61"/>
                </a:cubicBezTo>
                <a:cubicBezTo>
                  <a:pt x="258" y="87"/>
                  <a:pt x="255" y="111"/>
                  <a:pt x="255" y="131"/>
                </a:cubicBezTo>
                <a:cubicBezTo>
                  <a:pt x="255" y="147"/>
                  <a:pt x="255" y="164"/>
                  <a:pt x="255" y="169"/>
                </a:cubicBezTo>
                <a:cubicBezTo>
                  <a:pt x="255" y="173"/>
                  <a:pt x="262" y="189"/>
                  <a:pt x="271" y="205"/>
                </a:cubicBezTo>
                <a:cubicBezTo>
                  <a:pt x="279" y="220"/>
                  <a:pt x="287" y="239"/>
                  <a:pt x="289" y="247"/>
                </a:cubicBezTo>
                <a:cubicBezTo>
                  <a:pt x="292" y="260"/>
                  <a:pt x="305" y="283"/>
                  <a:pt x="312" y="286"/>
                </a:cubicBezTo>
                <a:cubicBezTo>
                  <a:pt x="318" y="288"/>
                  <a:pt x="315" y="304"/>
                  <a:pt x="307" y="317"/>
                </a:cubicBezTo>
                <a:cubicBezTo>
                  <a:pt x="303" y="323"/>
                  <a:pt x="299" y="334"/>
                  <a:pt x="299" y="341"/>
                </a:cubicBezTo>
                <a:cubicBezTo>
                  <a:pt x="299" y="351"/>
                  <a:pt x="297" y="355"/>
                  <a:pt x="291" y="357"/>
                </a:cubicBezTo>
                <a:cubicBezTo>
                  <a:pt x="282" y="360"/>
                  <a:pt x="275" y="374"/>
                  <a:pt x="275" y="391"/>
                </a:cubicBezTo>
                <a:cubicBezTo>
                  <a:pt x="275" y="400"/>
                  <a:pt x="277" y="403"/>
                  <a:pt x="289" y="406"/>
                </a:cubicBezTo>
                <a:cubicBezTo>
                  <a:pt x="296" y="408"/>
                  <a:pt x="307" y="409"/>
                  <a:pt x="312" y="408"/>
                </a:cubicBezTo>
                <a:cubicBezTo>
                  <a:pt x="321" y="406"/>
                  <a:pt x="323" y="408"/>
                  <a:pt x="326" y="419"/>
                </a:cubicBezTo>
                <a:cubicBezTo>
                  <a:pt x="329" y="427"/>
                  <a:pt x="332" y="441"/>
                  <a:pt x="333" y="452"/>
                </a:cubicBezTo>
                <a:cubicBezTo>
                  <a:pt x="334" y="463"/>
                  <a:pt x="336" y="473"/>
                  <a:pt x="337" y="474"/>
                </a:cubicBezTo>
                <a:cubicBezTo>
                  <a:pt x="338" y="476"/>
                  <a:pt x="339" y="483"/>
                  <a:pt x="341" y="491"/>
                </a:cubicBezTo>
                <a:cubicBezTo>
                  <a:pt x="346" y="522"/>
                  <a:pt x="351" y="536"/>
                  <a:pt x="359" y="545"/>
                </a:cubicBezTo>
                <a:cubicBezTo>
                  <a:pt x="367" y="553"/>
                  <a:pt x="371" y="554"/>
                  <a:pt x="391" y="552"/>
                </a:cubicBezTo>
                <a:cubicBezTo>
                  <a:pt x="406" y="550"/>
                  <a:pt x="422" y="552"/>
                  <a:pt x="440" y="556"/>
                </a:cubicBezTo>
                <a:cubicBezTo>
                  <a:pt x="455" y="560"/>
                  <a:pt x="470" y="562"/>
                  <a:pt x="474" y="561"/>
                </a:cubicBezTo>
                <a:cubicBezTo>
                  <a:pt x="485" y="557"/>
                  <a:pt x="492" y="564"/>
                  <a:pt x="490" y="577"/>
                </a:cubicBezTo>
                <a:cubicBezTo>
                  <a:pt x="489" y="583"/>
                  <a:pt x="480" y="624"/>
                  <a:pt x="469" y="667"/>
                </a:cubicBezTo>
                <a:cubicBezTo>
                  <a:pt x="459" y="709"/>
                  <a:pt x="446" y="761"/>
                  <a:pt x="442" y="781"/>
                </a:cubicBezTo>
                <a:cubicBezTo>
                  <a:pt x="433" y="817"/>
                  <a:pt x="433" y="817"/>
                  <a:pt x="433" y="817"/>
                </a:cubicBezTo>
                <a:lnTo>
                  <a:pt x="417" y="812"/>
                </a:ln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423" name="Freeform 88"/>
          <p:cNvSpPr>
            <a:spLocks/>
          </p:cNvSpPr>
          <p:nvPr userDrawn="1"/>
        </p:nvSpPr>
        <p:spPr bwMode="black">
          <a:xfrm>
            <a:off x="3820481" y="2392254"/>
            <a:ext cx="447675" cy="819151"/>
          </a:xfrm>
          <a:custGeom>
            <a:avLst/>
            <a:gdLst>
              <a:gd name="T0" fmla="*/ 175 w 311"/>
              <a:gd name="T1" fmla="*/ 562 h 571"/>
              <a:gd name="T2" fmla="*/ 129 w 311"/>
              <a:gd name="T3" fmla="*/ 482 h 571"/>
              <a:gd name="T4" fmla="*/ 101 w 311"/>
              <a:gd name="T5" fmla="*/ 449 h 571"/>
              <a:gd name="T6" fmla="*/ 106 w 311"/>
              <a:gd name="T7" fmla="*/ 416 h 571"/>
              <a:gd name="T8" fmla="*/ 80 w 311"/>
              <a:gd name="T9" fmla="*/ 373 h 571"/>
              <a:gd name="T10" fmla="*/ 59 w 311"/>
              <a:gd name="T11" fmla="*/ 341 h 571"/>
              <a:gd name="T12" fmla="*/ 34 w 311"/>
              <a:gd name="T13" fmla="*/ 308 h 571"/>
              <a:gd name="T14" fmla="*/ 2 w 311"/>
              <a:gd name="T15" fmla="*/ 245 h 571"/>
              <a:gd name="T16" fmla="*/ 0 w 311"/>
              <a:gd name="T17" fmla="*/ 225 h 571"/>
              <a:gd name="T18" fmla="*/ 19 w 311"/>
              <a:gd name="T19" fmla="*/ 210 h 571"/>
              <a:gd name="T20" fmla="*/ 38 w 311"/>
              <a:gd name="T21" fmla="*/ 195 h 571"/>
              <a:gd name="T22" fmla="*/ 39 w 311"/>
              <a:gd name="T23" fmla="*/ 160 h 571"/>
              <a:gd name="T24" fmla="*/ 40 w 311"/>
              <a:gd name="T25" fmla="*/ 124 h 571"/>
              <a:gd name="T26" fmla="*/ 52 w 311"/>
              <a:gd name="T27" fmla="*/ 121 h 571"/>
              <a:gd name="T28" fmla="*/ 102 w 311"/>
              <a:gd name="T29" fmla="*/ 57 h 571"/>
              <a:gd name="T30" fmla="*/ 91 w 311"/>
              <a:gd name="T31" fmla="*/ 20 h 571"/>
              <a:gd name="T32" fmla="*/ 79 w 311"/>
              <a:gd name="T33" fmla="*/ 1 h 571"/>
              <a:gd name="T34" fmla="*/ 130 w 311"/>
              <a:gd name="T35" fmla="*/ 1 h 571"/>
              <a:gd name="T36" fmla="*/ 234 w 311"/>
              <a:gd name="T37" fmla="*/ 2 h 571"/>
              <a:gd name="T38" fmla="*/ 287 w 311"/>
              <a:gd name="T39" fmla="*/ 3 h 571"/>
              <a:gd name="T40" fmla="*/ 287 w 311"/>
              <a:gd name="T41" fmla="*/ 13 h 571"/>
              <a:gd name="T42" fmla="*/ 293 w 311"/>
              <a:gd name="T43" fmla="*/ 32 h 571"/>
              <a:gd name="T44" fmla="*/ 307 w 311"/>
              <a:gd name="T45" fmla="*/ 223 h 571"/>
              <a:gd name="T46" fmla="*/ 310 w 311"/>
              <a:gd name="T47" fmla="*/ 381 h 571"/>
              <a:gd name="T48" fmla="*/ 294 w 311"/>
              <a:gd name="T49" fmla="*/ 425 h 571"/>
              <a:gd name="T50" fmla="*/ 274 w 311"/>
              <a:gd name="T51" fmla="*/ 482 h 571"/>
              <a:gd name="T52" fmla="*/ 251 w 311"/>
              <a:gd name="T53" fmla="*/ 540 h 571"/>
              <a:gd name="T54" fmla="*/ 239 w 311"/>
              <a:gd name="T55" fmla="*/ 551 h 571"/>
              <a:gd name="T56" fmla="*/ 212 w 311"/>
              <a:gd name="T57" fmla="*/ 559 h 571"/>
              <a:gd name="T58" fmla="*/ 182 w 311"/>
              <a:gd name="T59" fmla="*/ 565 h 571"/>
              <a:gd name="T60" fmla="*/ 175 w 311"/>
              <a:gd name="T61" fmla="*/ 562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1" h="571">
                <a:moveTo>
                  <a:pt x="175" y="562"/>
                </a:moveTo>
                <a:cubicBezTo>
                  <a:pt x="173" y="517"/>
                  <a:pt x="170" y="512"/>
                  <a:pt x="129" y="482"/>
                </a:cubicBezTo>
                <a:cubicBezTo>
                  <a:pt x="101" y="462"/>
                  <a:pt x="99" y="460"/>
                  <a:pt x="101" y="449"/>
                </a:cubicBezTo>
                <a:cubicBezTo>
                  <a:pt x="102" y="442"/>
                  <a:pt x="104" y="427"/>
                  <a:pt x="106" y="416"/>
                </a:cubicBezTo>
                <a:cubicBezTo>
                  <a:pt x="108" y="393"/>
                  <a:pt x="104" y="386"/>
                  <a:pt x="80" y="373"/>
                </a:cubicBezTo>
                <a:cubicBezTo>
                  <a:pt x="68" y="365"/>
                  <a:pt x="59" y="352"/>
                  <a:pt x="59" y="341"/>
                </a:cubicBezTo>
                <a:cubicBezTo>
                  <a:pt x="59" y="338"/>
                  <a:pt x="48" y="323"/>
                  <a:pt x="34" y="308"/>
                </a:cubicBezTo>
                <a:cubicBezTo>
                  <a:pt x="8" y="280"/>
                  <a:pt x="6" y="276"/>
                  <a:pt x="2" y="245"/>
                </a:cubicBezTo>
                <a:cubicBezTo>
                  <a:pt x="0" y="225"/>
                  <a:pt x="0" y="225"/>
                  <a:pt x="0" y="225"/>
                </a:cubicBezTo>
                <a:cubicBezTo>
                  <a:pt x="19" y="210"/>
                  <a:pt x="19" y="210"/>
                  <a:pt x="19" y="210"/>
                </a:cubicBezTo>
                <a:cubicBezTo>
                  <a:pt x="38" y="195"/>
                  <a:pt x="38" y="195"/>
                  <a:pt x="38" y="195"/>
                </a:cubicBezTo>
                <a:cubicBezTo>
                  <a:pt x="39" y="160"/>
                  <a:pt x="39" y="160"/>
                  <a:pt x="39" y="160"/>
                </a:cubicBezTo>
                <a:cubicBezTo>
                  <a:pt x="39" y="141"/>
                  <a:pt x="40" y="125"/>
                  <a:pt x="40" y="124"/>
                </a:cubicBezTo>
                <a:cubicBezTo>
                  <a:pt x="41" y="123"/>
                  <a:pt x="46" y="122"/>
                  <a:pt x="52" y="121"/>
                </a:cubicBezTo>
                <a:cubicBezTo>
                  <a:pt x="83" y="116"/>
                  <a:pt x="99" y="94"/>
                  <a:pt x="102" y="57"/>
                </a:cubicBezTo>
                <a:cubicBezTo>
                  <a:pt x="103" y="40"/>
                  <a:pt x="101" y="34"/>
                  <a:pt x="91" y="20"/>
                </a:cubicBezTo>
                <a:cubicBezTo>
                  <a:pt x="84" y="11"/>
                  <a:pt x="79" y="2"/>
                  <a:pt x="79" y="1"/>
                </a:cubicBezTo>
                <a:cubicBezTo>
                  <a:pt x="79" y="0"/>
                  <a:pt x="102" y="0"/>
                  <a:pt x="130" y="1"/>
                </a:cubicBezTo>
                <a:cubicBezTo>
                  <a:pt x="158" y="1"/>
                  <a:pt x="205" y="2"/>
                  <a:pt x="234" y="2"/>
                </a:cubicBezTo>
                <a:cubicBezTo>
                  <a:pt x="287" y="3"/>
                  <a:pt x="287" y="3"/>
                  <a:pt x="287" y="3"/>
                </a:cubicBezTo>
                <a:cubicBezTo>
                  <a:pt x="287" y="13"/>
                  <a:pt x="287" y="13"/>
                  <a:pt x="287" y="13"/>
                </a:cubicBezTo>
                <a:cubicBezTo>
                  <a:pt x="287" y="18"/>
                  <a:pt x="290" y="27"/>
                  <a:pt x="293" y="32"/>
                </a:cubicBezTo>
                <a:cubicBezTo>
                  <a:pt x="303" y="48"/>
                  <a:pt x="306" y="80"/>
                  <a:pt x="307" y="223"/>
                </a:cubicBezTo>
                <a:cubicBezTo>
                  <a:pt x="307" y="301"/>
                  <a:pt x="308" y="372"/>
                  <a:pt x="310" y="381"/>
                </a:cubicBezTo>
                <a:cubicBezTo>
                  <a:pt x="311" y="396"/>
                  <a:pt x="310" y="401"/>
                  <a:pt x="294" y="425"/>
                </a:cubicBezTo>
                <a:cubicBezTo>
                  <a:pt x="278" y="449"/>
                  <a:pt x="276" y="457"/>
                  <a:pt x="274" y="482"/>
                </a:cubicBezTo>
                <a:cubicBezTo>
                  <a:pt x="271" y="516"/>
                  <a:pt x="263" y="537"/>
                  <a:pt x="251" y="540"/>
                </a:cubicBezTo>
                <a:cubicBezTo>
                  <a:pt x="247" y="542"/>
                  <a:pt x="241" y="547"/>
                  <a:pt x="239" y="551"/>
                </a:cubicBezTo>
                <a:cubicBezTo>
                  <a:pt x="236" y="557"/>
                  <a:pt x="230" y="559"/>
                  <a:pt x="212" y="559"/>
                </a:cubicBezTo>
                <a:cubicBezTo>
                  <a:pt x="197" y="559"/>
                  <a:pt x="187" y="561"/>
                  <a:pt x="182" y="565"/>
                </a:cubicBezTo>
                <a:cubicBezTo>
                  <a:pt x="176" y="571"/>
                  <a:pt x="175" y="571"/>
                  <a:pt x="175" y="562"/>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424" name="Freeform 89"/>
          <p:cNvSpPr>
            <a:spLocks/>
          </p:cNvSpPr>
          <p:nvPr userDrawn="1"/>
        </p:nvSpPr>
        <p:spPr bwMode="black">
          <a:xfrm>
            <a:off x="4231646" y="2490677"/>
            <a:ext cx="347663" cy="603251"/>
          </a:xfrm>
          <a:custGeom>
            <a:avLst/>
            <a:gdLst>
              <a:gd name="T0" fmla="*/ 2 w 242"/>
              <a:gd name="T1" fmla="*/ 403 h 420"/>
              <a:gd name="T2" fmla="*/ 20 w 242"/>
              <a:gd name="T3" fmla="*/ 362 h 420"/>
              <a:gd name="T4" fmla="*/ 36 w 242"/>
              <a:gd name="T5" fmla="*/ 337 h 420"/>
              <a:gd name="T6" fmla="*/ 34 w 242"/>
              <a:gd name="T7" fmla="*/ 180 h 420"/>
              <a:gd name="T8" fmla="*/ 31 w 242"/>
              <a:gd name="T9" fmla="*/ 17 h 420"/>
              <a:gd name="T10" fmla="*/ 41 w 242"/>
              <a:gd name="T11" fmla="*/ 10 h 420"/>
              <a:gd name="T12" fmla="*/ 56 w 242"/>
              <a:gd name="T13" fmla="*/ 5 h 420"/>
              <a:gd name="T14" fmla="*/ 143 w 242"/>
              <a:gd name="T15" fmla="*/ 0 h 420"/>
              <a:gd name="T16" fmla="*/ 227 w 242"/>
              <a:gd name="T17" fmla="*/ 6 h 420"/>
              <a:gd name="T18" fmla="*/ 239 w 242"/>
              <a:gd name="T19" fmla="*/ 308 h 420"/>
              <a:gd name="T20" fmla="*/ 226 w 242"/>
              <a:gd name="T21" fmla="*/ 314 h 420"/>
              <a:gd name="T22" fmla="*/ 187 w 242"/>
              <a:gd name="T23" fmla="*/ 346 h 420"/>
              <a:gd name="T24" fmla="*/ 144 w 242"/>
              <a:gd name="T25" fmla="*/ 383 h 420"/>
              <a:gd name="T26" fmla="*/ 109 w 242"/>
              <a:gd name="T27" fmla="*/ 397 h 420"/>
              <a:gd name="T28" fmla="*/ 59 w 242"/>
              <a:gd name="T29" fmla="*/ 409 h 420"/>
              <a:gd name="T30" fmla="*/ 20 w 242"/>
              <a:gd name="T31" fmla="*/ 413 h 420"/>
              <a:gd name="T32" fmla="*/ 2 w 242"/>
              <a:gd name="T33" fmla="*/ 403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2" h="420">
                <a:moveTo>
                  <a:pt x="2" y="403"/>
                </a:moveTo>
                <a:cubicBezTo>
                  <a:pt x="3" y="394"/>
                  <a:pt x="11" y="376"/>
                  <a:pt x="20" y="362"/>
                </a:cubicBezTo>
                <a:cubicBezTo>
                  <a:pt x="36" y="337"/>
                  <a:pt x="36" y="337"/>
                  <a:pt x="36" y="337"/>
                </a:cubicBezTo>
                <a:cubicBezTo>
                  <a:pt x="34" y="180"/>
                  <a:pt x="34" y="180"/>
                  <a:pt x="34" y="180"/>
                </a:cubicBezTo>
                <a:cubicBezTo>
                  <a:pt x="34" y="94"/>
                  <a:pt x="32" y="20"/>
                  <a:pt x="31" y="17"/>
                </a:cubicBezTo>
                <a:cubicBezTo>
                  <a:pt x="30" y="11"/>
                  <a:pt x="32" y="10"/>
                  <a:pt x="41" y="10"/>
                </a:cubicBezTo>
                <a:cubicBezTo>
                  <a:pt x="47" y="10"/>
                  <a:pt x="53" y="8"/>
                  <a:pt x="56" y="5"/>
                </a:cubicBezTo>
                <a:cubicBezTo>
                  <a:pt x="58" y="3"/>
                  <a:pt x="93" y="1"/>
                  <a:pt x="143" y="0"/>
                </a:cubicBezTo>
                <a:cubicBezTo>
                  <a:pt x="215" y="0"/>
                  <a:pt x="226" y="0"/>
                  <a:pt x="227" y="6"/>
                </a:cubicBezTo>
                <a:cubicBezTo>
                  <a:pt x="232" y="38"/>
                  <a:pt x="242" y="299"/>
                  <a:pt x="239" y="308"/>
                </a:cubicBezTo>
                <a:cubicBezTo>
                  <a:pt x="237" y="311"/>
                  <a:pt x="232" y="314"/>
                  <a:pt x="226" y="314"/>
                </a:cubicBezTo>
                <a:cubicBezTo>
                  <a:pt x="212" y="314"/>
                  <a:pt x="210" y="315"/>
                  <a:pt x="187" y="346"/>
                </a:cubicBezTo>
                <a:cubicBezTo>
                  <a:pt x="160" y="381"/>
                  <a:pt x="158" y="383"/>
                  <a:pt x="144" y="383"/>
                </a:cubicBezTo>
                <a:cubicBezTo>
                  <a:pt x="137" y="384"/>
                  <a:pt x="121" y="390"/>
                  <a:pt x="109" y="397"/>
                </a:cubicBezTo>
                <a:cubicBezTo>
                  <a:pt x="90" y="408"/>
                  <a:pt x="84" y="410"/>
                  <a:pt x="59" y="409"/>
                </a:cubicBezTo>
                <a:cubicBezTo>
                  <a:pt x="44" y="409"/>
                  <a:pt x="26" y="410"/>
                  <a:pt x="20" y="413"/>
                </a:cubicBezTo>
                <a:cubicBezTo>
                  <a:pt x="2" y="420"/>
                  <a:pt x="0" y="419"/>
                  <a:pt x="2" y="403"/>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425" name="Freeform 90"/>
          <p:cNvSpPr>
            <a:spLocks/>
          </p:cNvSpPr>
          <p:nvPr userDrawn="1"/>
        </p:nvSpPr>
        <p:spPr bwMode="black">
          <a:xfrm>
            <a:off x="2574294" y="2687529"/>
            <a:ext cx="866775" cy="519113"/>
          </a:xfrm>
          <a:custGeom>
            <a:avLst/>
            <a:gdLst>
              <a:gd name="T0" fmla="*/ 569 w 603"/>
              <a:gd name="T1" fmla="*/ 358 h 361"/>
              <a:gd name="T2" fmla="*/ 528 w 603"/>
              <a:gd name="T3" fmla="*/ 355 h 361"/>
              <a:gd name="T4" fmla="*/ 482 w 603"/>
              <a:gd name="T5" fmla="*/ 351 h 361"/>
              <a:gd name="T6" fmla="*/ 438 w 603"/>
              <a:gd name="T7" fmla="*/ 346 h 361"/>
              <a:gd name="T8" fmla="*/ 394 w 603"/>
              <a:gd name="T9" fmla="*/ 343 h 361"/>
              <a:gd name="T10" fmla="*/ 348 w 603"/>
              <a:gd name="T11" fmla="*/ 338 h 361"/>
              <a:gd name="T12" fmla="*/ 302 w 603"/>
              <a:gd name="T13" fmla="*/ 335 h 361"/>
              <a:gd name="T14" fmla="*/ 258 w 603"/>
              <a:gd name="T15" fmla="*/ 331 h 361"/>
              <a:gd name="T16" fmla="*/ 214 w 603"/>
              <a:gd name="T17" fmla="*/ 327 h 361"/>
              <a:gd name="T18" fmla="*/ 170 w 603"/>
              <a:gd name="T19" fmla="*/ 323 h 361"/>
              <a:gd name="T20" fmla="*/ 126 w 603"/>
              <a:gd name="T21" fmla="*/ 318 h 361"/>
              <a:gd name="T22" fmla="*/ 80 w 603"/>
              <a:gd name="T23" fmla="*/ 314 h 361"/>
              <a:gd name="T24" fmla="*/ 34 w 603"/>
              <a:gd name="T25" fmla="*/ 310 h 361"/>
              <a:gd name="T26" fmla="*/ 14 w 603"/>
              <a:gd name="T27" fmla="*/ 309 h 361"/>
              <a:gd name="T28" fmla="*/ 0 w 603"/>
              <a:gd name="T29" fmla="*/ 309 h 361"/>
              <a:gd name="T30" fmla="*/ 7 w 603"/>
              <a:gd name="T31" fmla="*/ 258 h 361"/>
              <a:gd name="T32" fmla="*/ 16 w 603"/>
              <a:gd name="T33" fmla="*/ 189 h 361"/>
              <a:gd name="T34" fmla="*/ 20 w 603"/>
              <a:gd name="T35" fmla="*/ 161 h 361"/>
              <a:gd name="T36" fmla="*/ 24 w 603"/>
              <a:gd name="T37" fmla="*/ 137 h 361"/>
              <a:gd name="T38" fmla="*/ 30 w 603"/>
              <a:gd name="T39" fmla="*/ 91 h 361"/>
              <a:gd name="T40" fmla="*/ 37 w 603"/>
              <a:gd name="T41" fmla="*/ 45 h 361"/>
              <a:gd name="T42" fmla="*/ 41 w 603"/>
              <a:gd name="T43" fmla="*/ 15 h 361"/>
              <a:gd name="T44" fmla="*/ 43 w 603"/>
              <a:gd name="T45" fmla="*/ 0 h 361"/>
              <a:gd name="T46" fmla="*/ 70 w 603"/>
              <a:gd name="T47" fmla="*/ 2 h 361"/>
              <a:gd name="T48" fmla="*/ 186 w 603"/>
              <a:gd name="T49" fmla="*/ 14 h 361"/>
              <a:gd name="T50" fmla="*/ 226 w 603"/>
              <a:gd name="T51" fmla="*/ 19 h 361"/>
              <a:gd name="T52" fmla="*/ 262 w 603"/>
              <a:gd name="T53" fmla="*/ 23 h 361"/>
              <a:gd name="T54" fmla="*/ 298 w 603"/>
              <a:gd name="T55" fmla="*/ 27 h 361"/>
              <a:gd name="T56" fmla="*/ 334 w 603"/>
              <a:gd name="T57" fmla="*/ 31 h 361"/>
              <a:gd name="T58" fmla="*/ 374 w 603"/>
              <a:gd name="T59" fmla="*/ 35 h 361"/>
              <a:gd name="T60" fmla="*/ 410 w 603"/>
              <a:gd name="T61" fmla="*/ 39 h 361"/>
              <a:gd name="T62" fmla="*/ 446 w 603"/>
              <a:gd name="T63" fmla="*/ 43 h 361"/>
              <a:gd name="T64" fmla="*/ 484 w 603"/>
              <a:gd name="T65" fmla="*/ 47 h 361"/>
              <a:gd name="T66" fmla="*/ 526 w 603"/>
              <a:gd name="T67" fmla="*/ 51 h 361"/>
              <a:gd name="T68" fmla="*/ 572 w 603"/>
              <a:gd name="T69" fmla="*/ 65 h 361"/>
              <a:gd name="T70" fmla="*/ 576 w 603"/>
              <a:gd name="T71" fmla="*/ 87 h 361"/>
              <a:gd name="T72" fmla="*/ 574 w 603"/>
              <a:gd name="T73" fmla="*/ 113 h 361"/>
              <a:gd name="T74" fmla="*/ 584 w 603"/>
              <a:gd name="T75" fmla="*/ 129 h 361"/>
              <a:gd name="T76" fmla="*/ 594 w 603"/>
              <a:gd name="T77" fmla="*/ 136 h 361"/>
              <a:gd name="T78" fmla="*/ 598 w 603"/>
              <a:gd name="T79" fmla="*/ 311 h 361"/>
              <a:gd name="T80" fmla="*/ 593 w 603"/>
              <a:gd name="T81" fmla="*/ 361 h 361"/>
              <a:gd name="T82" fmla="*/ 581 w 603"/>
              <a:gd name="T83" fmla="*/ 360 h 361"/>
              <a:gd name="T84" fmla="*/ 569 w 603"/>
              <a:gd name="T85" fmla="*/ 35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03" h="361">
                <a:moveTo>
                  <a:pt x="569" y="358"/>
                </a:moveTo>
                <a:cubicBezTo>
                  <a:pt x="568" y="358"/>
                  <a:pt x="550" y="356"/>
                  <a:pt x="528" y="355"/>
                </a:cubicBezTo>
                <a:cubicBezTo>
                  <a:pt x="506" y="353"/>
                  <a:pt x="485" y="351"/>
                  <a:pt x="482" y="351"/>
                </a:cubicBezTo>
                <a:cubicBezTo>
                  <a:pt x="479" y="350"/>
                  <a:pt x="459" y="348"/>
                  <a:pt x="438" y="346"/>
                </a:cubicBezTo>
                <a:cubicBezTo>
                  <a:pt x="417" y="345"/>
                  <a:pt x="397" y="343"/>
                  <a:pt x="394" y="343"/>
                </a:cubicBezTo>
                <a:cubicBezTo>
                  <a:pt x="391" y="342"/>
                  <a:pt x="370" y="340"/>
                  <a:pt x="348" y="338"/>
                </a:cubicBezTo>
                <a:cubicBezTo>
                  <a:pt x="326" y="337"/>
                  <a:pt x="305" y="335"/>
                  <a:pt x="302" y="335"/>
                </a:cubicBezTo>
                <a:cubicBezTo>
                  <a:pt x="299" y="334"/>
                  <a:pt x="279" y="332"/>
                  <a:pt x="258" y="331"/>
                </a:cubicBezTo>
                <a:cubicBezTo>
                  <a:pt x="237" y="329"/>
                  <a:pt x="217" y="327"/>
                  <a:pt x="214" y="327"/>
                </a:cubicBezTo>
                <a:cubicBezTo>
                  <a:pt x="211" y="326"/>
                  <a:pt x="191" y="324"/>
                  <a:pt x="170" y="323"/>
                </a:cubicBezTo>
                <a:cubicBezTo>
                  <a:pt x="149" y="321"/>
                  <a:pt x="129" y="319"/>
                  <a:pt x="126" y="318"/>
                </a:cubicBezTo>
                <a:cubicBezTo>
                  <a:pt x="123" y="318"/>
                  <a:pt x="102" y="316"/>
                  <a:pt x="80" y="314"/>
                </a:cubicBezTo>
                <a:cubicBezTo>
                  <a:pt x="58" y="313"/>
                  <a:pt x="37" y="311"/>
                  <a:pt x="34" y="310"/>
                </a:cubicBezTo>
                <a:cubicBezTo>
                  <a:pt x="31" y="310"/>
                  <a:pt x="22" y="309"/>
                  <a:pt x="14" y="309"/>
                </a:cubicBezTo>
                <a:cubicBezTo>
                  <a:pt x="0" y="309"/>
                  <a:pt x="0" y="309"/>
                  <a:pt x="0" y="309"/>
                </a:cubicBezTo>
                <a:cubicBezTo>
                  <a:pt x="7" y="258"/>
                  <a:pt x="7" y="258"/>
                  <a:pt x="7" y="258"/>
                </a:cubicBezTo>
                <a:cubicBezTo>
                  <a:pt x="11" y="230"/>
                  <a:pt x="15" y="198"/>
                  <a:pt x="16" y="189"/>
                </a:cubicBezTo>
                <a:cubicBezTo>
                  <a:pt x="17" y="179"/>
                  <a:pt x="19" y="166"/>
                  <a:pt x="20" y="161"/>
                </a:cubicBezTo>
                <a:cubicBezTo>
                  <a:pt x="21" y="155"/>
                  <a:pt x="23" y="144"/>
                  <a:pt x="24" y="137"/>
                </a:cubicBezTo>
                <a:cubicBezTo>
                  <a:pt x="25" y="129"/>
                  <a:pt x="28" y="108"/>
                  <a:pt x="30" y="91"/>
                </a:cubicBezTo>
                <a:cubicBezTo>
                  <a:pt x="33" y="73"/>
                  <a:pt x="36" y="52"/>
                  <a:pt x="37" y="45"/>
                </a:cubicBezTo>
                <a:cubicBezTo>
                  <a:pt x="38" y="37"/>
                  <a:pt x="39" y="24"/>
                  <a:pt x="41" y="15"/>
                </a:cubicBezTo>
                <a:cubicBezTo>
                  <a:pt x="43" y="0"/>
                  <a:pt x="43" y="0"/>
                  <a:pt x="43" y="0"/>
                </a:cubicBezTo>
                <a:cubicBezTo>
                  <a:pt x="70" y="2"/>
                  <a:pt x="70" y="2"/>
                  <a:pt x="70" y="2"/>
                </a:cubicBezTo>
                <a:cubicBezTo>
                  <a:pt x="95" y="4"/>
                  <a:pt x="157" y="11"/>
                  <a:pt x="186" y="14"/>
                </a:cubicBezTo>
                <a:cubicBezTo>
                  <a:pt x="194" y="15"/>
                  <a:pt x="212" y="17"/>
                  <a:pt x="226" y="19"/>
                </a:cubicBezTo>
                <a:cubicBezTo>
                  <a:pt x="240" y="20"/>
                  <a:pt x="257" y="22"/>
                  <a:pt x="262" y="23"/>
                </a:cubicBezTo>
                <a:cubicBezTo>
                  <a:pt x="268" y="23"/>
                  <a:pt x="284" y="25"/>
                  <a:pt x="298" y="27"/>
                </a:cubicBezTo>
                <a:cubicBezTo>
                  <a:pt x="312" y="28"/>
                  <a:pt x="329" y="30"/>
                  <a:pt x="334" y="31"/>
                </a:cubicBezTo>
                <a:cubicBezTo>
                  <a:pt x="340" y="31"/>
                  <a:pt x="358" y="33"/>
                  <a:pt x="374" y="35"/>
                </a:cubicBezTo>
                <a:cubicBezTo>
                  <a:pt x="391" y="36"/>
                  <a:pt x="407" y="38"/>
                  <a:pt x="410" y="39"/>
                </a:cubicBezTo>
                <a:cubicBezTo>
                  <a:pt x="413" y="39"/>
                  <a:pt x="430" y="41"/>
                  <a:pt x="446" y="43"/>
                </a:cubicBezTo>
                <a:cubicBezTo>
                  <a:pt x="463" y="44"/>
                  <a:pt x="480" y="46"/>
                  <a:pt x="484" y="47"/>
                </a:cubicBezTo>
                <a:cubicBezTo>
                  <a:pt x="488" y="48"/>
                  <a:pt x="507" y="49"/>
                  <a:pt x="526" y="51"/>
                </a:cubicBezTo>
                <a:cubicBezTo>
                  <a:pt x="557" y="53"/>
                  <a:pt x="561" y="54"/>
                  <a:pt x="572" y="65"/>
                </a:cubicBezTo>
                <a:cubicBezTo>
                  <a:pt x="583" y="76"/>
                  <a:pt x="583" y="76"/>
                  <a:pt x="576" y="87"/>
                </a:cubicBezTo>
                <a:cubicBezTo>
                  <a:pt x="570" y="96"/>
                  <a:pt x="570" y="100"/>
                  <a:pt x="574" y="113"/>
                </a:cubicBezTo>
                <a:cubicBezTo>
                  <a:pt x="576" y="122"/>
                  <a:pt x="581" y="129"/>
                  <a:pt x="584" y="129"/>
                </a:cubicBezTo>
                <a:cubicBezTo>
                  <a:pt x="587" y="129"/>
                  <a:pt x="592" y="132"/>
                  <a:pt x="594" y="136"/>
                </a:cubicBezTo>
                <a:cubicBezTo>
                  <a:pt x="601" y="149"/>
                  <a:pt x="603" y="258"/>
                  <a:pt x="598" y="311"/>
                </a:cubicBezTo>
                <a:cubicBezTo>
                  <a:pt x="593" y="361"/>
                  <a:pt x="593" y="361"/>
                  <a:pt x="593" y="361"/>
                </a:cubicBezTo>
                <a:cubicBezTo>
                  <a:pt x="581" y="360"/>
                  <a:pt x="581" y="360"/>
                  <a:pt x="581" y="360"/>
                </a:cubicBezTo>
                <a:cubicBezTo>
                  <a:pt x="575" y="359"/>
                  <a:pt x="569" y="358"/>
                  <a:pt x="569" y="358"/>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426" name="Freeform 91"/>
          <p:cNvSpPr>
            <a:spLocks/>
          </p:cNvSpPr>
          <p:nvPr userDrawn="1"/>
        </p:nvSpPr>
        <p:spPr bwMode="black">
          <a:xfrm>
            <a:off x="4090358" y="2900253"/>
            <a:ext cx="830263" cy="385763"/>
          </a:xfrm>
          <a:custGeom>
            <a:avLst/>
            <a:gdLst>
              <a:gd name="T0" fmla="*/ 1 w 578"/>
              <a:gd name="T1" fmla="*/ 248 h 269"/>
              <a:gd name="T2" fmla="*/ 5 w 578"/>
              <a:gd name="T3" fmla="*/ 222 h 269"/>
              <a:gd name="T4" fmla="*/ 33 w 578"/>
              <a:gd name="T5" fmla="*/ 217 h 269"/>
              <a:gd name="T6" fmla="*/ 59 w 578"/>
              <a:gd name="T7" fmla="*/ 211 h 269"/>
              <a:gd name="T8" fmla="*/ 74 w 578"/>
              <a:gd name="T9" fmla="*/ 197 h 269"/>
              <a:gd name="T10" fmla="*/ 92 w 578"/>
              <a:gd name="T11" fmla="*/ 169 h 269"/>
              <a:gd name="T12" fmla="*/ 116 w 578"/>
              <a:gd name="T13" fmla="*/ 143 h 269"/>
              <a:gd name="T14" fmla="*/ 163 w 578"/>
              <a:gd name="T15" fmla="*/ 138 h 269"/>
              <a:gd name="T16" fmla="*/ 212 w 578"/>
              <a:gd name="T17" fmla="*/ 125 h 269"/>
              <a:gd name="T18" fmla="*/ 246 w 578"/>
              <a:gd name="T19" fmla="*/ 113 h 269"/>
              <a:gd name="T20" fmla="*/ 300 w 578"/>
              <a:gd name="T21" fmla="*/ 65 h 269"/>
              <a:gd name="T22" fmla="*/ 315 w 578"/>
              <a:gd name="T23" fmla="*/ 45 h 269"/>
              <a:gd name="T24" fmla="*/ 333 w 578"/>
              <a:gd name="T25" fmla="*/ 41 h 269"/>
              <a:gd name="T26" fmla="*/ 350 w 578"/>
              <a:gd name="T27" fmla="*/ 39 h 269"/>
              <a:gd name="T28" fmla="*/ 351 w 578"/>
              <a:gd name="T29" fmla="*/ 19 h 269"/>
              <a:gd name="T30" fmla="*/ 353 w 578"/>
              <a:gd name="T31" fmla="*/ 0 h 269"/>
              <a:gd name="T32" fmla="*/ 366 w 578"/>
              <a:gd name="T33" fmla="*/ 2 h 269"/>
              <a:gd name="T34" fmla="*/ 396 w 578"/>
              <a:gd name="T35" fmla="*/ 16 h 269"/>
              <a:gd name="T36" fmla="*/ 484 w 578"/>
              <a:gd name="T37" fmla="*/ 33 h 269"/>
              <a:gd name="T38" fmla="*/ 522 w 578"/>
              <a:gd name="T39" fmla="*/ 41 h 269"/>
              <a:gd name="T40" fmla="*/ 529 w 578"/>
              <a:gd name="T41" fmla="*/ 63 h 269"/>
              <a:gd name="T42" fmla="*/ 561 w 578"/>
              <a:gd name="T43" fmla="*/ 125 h 269"/>
              <a:gd name="T44" fmla="*/ 578 w 578"/>
              <a:gd name="T45" fmla="*/ 145 h 269"/>
              <a:gd name="T46" fmla="*/ 568 w 578"/>
              <a:gd name="T47" fmla="*/ 152 h 269"/>
              <a:gd name="T48" fmla="*/ 514 w 578"/>
              <a:gd name="T49" fmla="*/ 207 h 269"/>
              <a:gd name="T50" fmla="*/ 472 w 578"/>
              <a:gd name="T51" fmla="*/ 239 h 269"/>
              <a:gd name="T52" fmla="*/ 176 w 578"/>
              <a:gd name="T53" fmla="*/ 247 h 269"/>
              <a:gd name="T54" fmla="*/ 129 w 578"/>
              <a:gd name="T55" fmla="*/ 248 h 269"/>
              <a:gd name="T56" fmla="*/ 97 w 578"/>
              <a:gd name="T57" fmla="*/ 256 h 269"/>
              <a:gd name="T58" fmla="*/ 43 w 578"/>
              <a:gd name="T59" fmla="*/ 266 h 269"/>
              <a:gd name="T60" fmla="*/ 0 w 578"/>
              <a:gd name="T61" fmla="*/ 269 h 269"/>
              <a:gd name="T62" fmla="*/ 1 w 578"/>
              <a:gd name="T63" fmla="*/ 248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8" h="269">
                <a:moveTo>
                  <a:pt x="1" y="248"/>
                </a:moveTo>
                <a:cubicBezTo>
                  <a:pt x="1" y="236"/>
                  <a:pt x="3" y="224"/>
                  <a:pt x="5" y="222"/>
                </a:cubicBezTo>
                <a:cubicBezTo>
                  <a:pt x="8" y="219"/>
                  <a:pt x="18" y="217"/>
                  <a:pt x="33" y="217"/>
                </a:cubicBezTo>
                <a:cubicBezTo>
                  <a:pt x="50" y="217"/>
                  <a:pt x="57" y="215"/>
                  <a:pt x="59" y="211"/>
                </a:cubicBezTo>
                <a:cubicBezTo>
                  <a:pt x="60" y="208"/>
                  <a:pt x="67" y="201"/>
                  <a:pt x="74" y="197"/>
                </a:cubicBezTo>
                <a:cubicBezTo>
                  <a:pt x="84" y="191"/>
                  <a:pt x="88" y="185"/>
                  <a:pt x="92" y="169"/>
                </a:cubicBezTo>
                <a:cubicBezTo>
                  <a:pt x="97" y="150"/>
                  <a:pt x="99" y="149"/>
                  <a:pt x="116" y="143"/>
                </a:cubicBezTo>
                <a:cubicBezTo>
                  <a:pt x="126" y="140"/>
                  <a:pt x="147" y="137"/>
                  <a:pt x="163" y="138"/>
                </a:cubicBezTo>
                <a:cubicBezTo>
                  <a:pt x="189" y="138"/>
                  <a:pt x="194" y="136"/>
                  <a:pt x="212" y="125"/>
                </a:cubicBezTo>
                <a:cubicBezTo>
                  <a:pt x="224" y="118"/>
                  <a:pt x="238" y="113"/>
                  <a:pt x="246" y="113"/>
                </a:cubicBezTo>
                <a:cubicBezTo>
                  <a:pt x="259" y="113"/>
                  <a:pt x="274" y="100"/>
                  <a:pt x="300" y="65"/>
                </a:cubicBezTo>
                <a:cubicBezTo>
                  <a:pt x="308" y="55"/>
                  <a:pt x="314" y="46"/>
                  <a:pt x="315" y="45"/>
                </a:cubicBezTo>
                <a:cubicBezTo>
                  <a:pt x="316" y="44"/>
                  <a:pt x="324" y="42"/>
                  <a:pt x="333" y="41"/>
                </a:cubicBezTo>
                <a:cubicBezTo>
                  <a:pt x="350" y="39"/>
                  <a:pt x="350" y="39"/>
                  <a:pt x="350" y="39"/>
                </a:cubicBezTo>
                <a:cubicBezTo>
                  <a:pt x="351" y="19"/>
                  <a:pt x="351" y="19"/>
                  <a:pt x="351" y="19"/>
                </a:cubicBezTo>
                <a:cubicBezTo>
                  <a:pt x="353" y="0"/>
                  <a:pt x="353" y="0"/>
                  <a:pt x="353" y="0"/>
                </a:cubicBezTo>
                <a:cubicBezTo>
                  <a:pt x="366" y="2"/>
                  <a:pt x="366" y="2"/>
                  <a:pt x="366" y="2"/>
                </a:cubicBezTo>
                <a:cubicBezTo>
                  <a:pt x="374" y="4"/>
                  <a:pt x="387" y="10"/>
                  <a:pt x="396" y="16"/>
                </a:cubicBezTo>
                <a:cubicBezTo>
                  <a:pt x="414" y="29"/>
                  <a:pt x="440" y="34"/>
                  <a:pt x="484" y="33"/>
                </a:cubicBezTo>
                <a:cubicBezTo>
                  <a:pt x="511" y="32"/>
                  <a:pt x="516" y="33"/>
                  <a:pt x="522" y="41"/>
                </a:cubicBezTo>
                <a:cubicBezTo>
                  <a:pt x="527" y="46"/>
                  <a:pt x="529" y="54"/>
                  <a:pt x="529" y="63"/>
                </a:cubicBezTo>
                <a:cubicBezTo>
                  <a:pt x="527" y="79"/>
                  <a:pt x="536" y="95"/>
                  <a:pt x="561" y="125"/>
                </a:cubicBezTo>
                <a:cubicBezTo>
                  <a:pt x="578" y="145"/>
                  <a:pt x="578" y="145"/>
                  <a:pt x="578" y="145"/>
                </a:cubicBezTo>
                <a:cubicBezTo>
                  <a:pt x="568" y="152"/>
                  <a:pt x="568" y="152"/>
                  <a:pt x="568" y="152"/>
                </a:cubicBezTo>
                <a:cubicBezTo>
                  <a:pt x="557" y="159"/>
                  <a:pt x="552" y="164"/>
                  <a:pt x="514" y="207"/>
                </a:cubicBezTo>
                <a:cubicBezTo>
                  <a:pt x="489" y="235"/>
                  <a:pt x="483" y="239"/>
                  <a:pt x="472" y="239"/>
                </a:cubicBezTo>
                <a:cubicBezTo>
                  <a:pt x="434" y="240"/>
                  <a:pt x="192" y="246"/>
                  <a:pt x="176" y="247"/>
                </a:cubicBezTo>
                <a:cubicBezTo>
                  <a:pt x="166" y="247"/>
                  <a:pt x="145" y="248"/>
                  <a:pt x="129" y="248"/>
                </a:cubicBezTo>
                <a:cubicBezTo>
                  <a:pt x="105" y="248"/>
                  <a:pt x="99" y="250"/>
                  <a:pt x="97" y="256"/>
                </a:cubicBezTo>
                <a:cubicBezTo>
                  <a:pt x="94" y="264"/>
                  <a:pt x="98" y="263"/>
                  <a:pt x="43" y="266"/>
                </a:cubicBezTo>
                <a:cubicBezTo>
                  <a:pt x="0" y="269"/>
                  <a:pt x="0" y="269"/>
                  <a:pt x="0" y="269"/>
                </a:cubicBezTo>
                <a:lnTo>
                  <a:pt x="1" y="248"/>
                </a:ln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427" name="Freeform 92"/>
          <p:cNvSpPr>
            <a:spLocks/>
          </p:cNvSpPr>
          <p:nvPr userDrawn="1"/>
        </p:nvSpPr>
        <p:spPr bwMode="black">
          <a:xfrm>
            <a:off x="3480757" y="3855929"/>
            <a:ext cx="655639" cy="611188"/>
          </a:xfrm>
          <a:custGeom>
            <a:avLst/>
            <a:gdLst>
              <a:gd name="T0" fmla="*/ 418 w 456"/>
              <a:gd name="T1" fmla="*/ 423 h 426"/>
              <a:gd name="T2" fmla="*/ 387 w 456"/>
              <a:gd name="T3" fmla="*/ 411 h 426"/>
              <a:gd name="T4" fmla="*/ 355 w 456"/>
              <a:gd name="T5" fmla="*/ 409 h 426"/>
              <a:gd name="T6" fmla="*/ 304 w 456"/>
              <a:gd name="T7" fmla="*/ 422 h 426"/>
              <a:gd name="T8" fmla="*/ 233 w 456"/>
              <a:gd name="T9" fmla="*/ 388 h 426"/>
              <a:gd name="T10" fmla="*/ 198 w 456"/>
              <a:gd name="T11" fmla="*/ 360 h 426"/>
              <a:gd name="T12" fmla="*/ 180 w 456"/>
              <a:gd name="T13" fmla="*/ 351 h 426"/>
              <a:gd name="T14" fmla="*/ 171 w 456"/>
              <a:gd name="T15" fmla="*/ 359 h 426"/>
              <a:gd name="T16" fmla="*/ 88 w 456"/>
              <a:gd name="T17" fmla="*/ 354 h 426"/>
              <a:gd name="T18" fmla="*/ 9 w 456"/>
              <a:gd name="T19" fmla="*/ 352 h 426"/>
              <a:gd name="T20" fmla="*/ 10 w 456"/>
              <a:gd name="T21" fmla="*/ 325 h 426"/>
              <a:gd name="T22" fmla="*/ 22 w 456"/>
              <a:gd name="T23" fmla="*/ 280 h 426"/>
              <a:gd name="T24" fmla="*/ 36 w 456"/>
              <a:gd name="T25" fmla="*/ 227 h 426"/>
              <a:gd name="T26" fmla="*/ 38 w 456"/>
              <a:gd name="T27" fmla="*/ 188 h 426"/>
              <a:gd name="T28" fmla="*/ 22 w 456"/>
              <a:gd name="T29" fmla="*/ 138 h 426"/>
              <a:gd name="T30" fmla="*/ 9 w 456"/>
              <a:gd name="T31" fmla="*/ 57 h 426"/>
              <a:gd name="T32" fmla="*/ 8 w 456"/>
              <a:gd name="T33" fmla="*/ 0 h 426"/>
              <a:gd name="T34" fmla="*/ 130 w 456"/>
              <a:gd name="T35" fmla="*/ 0 h 426"/>
              <a:gd name="T36" fmla="*/ 252 w 456"/>
              <a:gd name="T37" fmla="*/ 5 h 426"/>
              <a:gd name="T38" fmla="*/ 261 w 456"/>
              <a:gd name="T39" fmla="*/ 49 h 426"/>
              <a:gd name="T40" fmla="*/ 234 w 456"/>
              <a:gd name="T41" fmla="*/ 135 h 426"/>
              <a:gd name="T42" fmla="*/ 217 w 456"/>
              <a:gd name="T43" fmla="*/ 215 h 426"/>
              <a:gd name="T44" fmla="*/ 264 w 456"/>
              <a:gd name="T45" fmla="*/ 220 h 426"/>
              <a:gd name="T46" fmla="*/ 363 w 456"/>
              <a:gd name="T47" fmla="*/ 223 h 426"/>
              <a:gd name="T48" fmla="*/ 373 w 456"/>
              <a:gd name="T49" fmla="*/ 254 h 426"/>
              <a:gd name="T50" fmla="*/ 411 w 456"/>
              <a:gd name="T51" fmla="*/ 308 h 426"/>
              <a:gd name="T52" fmla="*/ 428 w 456"/>
              <a:gd name="T53" fmla="*/ 331 h 426"/>
              <a:gd name="T54" fmla="*/ 421 w 456"/>
              <a:gd name="T55" fmla="*/ 353 h 426"/>
              <a:gd name="T56" fmla="*/ 424 w 456"/>
              <a:gd name="T57" fmla="*/ 384 h 426"/>
              <a:gd name="T58" fmla="*/ 456 w 456"/>
              <a:gd name="T59" fmla="*/ 418 h 426"/>
              <a:gd name="T60" fmla="*/ 448 w 456"/>
              <a:gd name="T61" fmla="*/ 424 h 426"/>
              <a:gd name="T62" fmla="*/ 435 w 456"/>
              <a:gd name="T63" fmla="*/ 425 h 426"/>
              <a:gd name="T64" fmla="*/ 418 w 456"/>
              <a:gd name="T65" fmla="*/ 42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6" h="426">
                <a:moveTo>
                  <a:pt x="418" y="423"/>
                </a:moveTo>
                <a:cubicBezTo>
                  <a:pt x="412" y="421"/>
                  <a:pt x="398" y="415"/>
                  <a:pt x="387" y="411"/>
                </a:cubicBezTo>
                <a:cubicBezTo>
                  <a:pt x="370" y="404"/>
                  <a:pt x="367" y="404"/>
                  <a:pt x="355" y="409"/>
                </a:cubicBezTo>
                <a:cubicBezTo>
                  <a:pt x="341" y="416"/>
                  <a:pt x="330" y="418"/>
                  <a:pt x="304" y="422"/>
                </a:cubicBezTo>
                <a:cubicBezTo>
                  <a:pt x="279" y="425"/>
                  <a:pt x="255" y="413"/>
                  <a:pt x="233" y="388"/>
                </a:cubicBezTo>
                <a:cubicBezTo>
                  <a:pt x="224" y="378"/>
                  <a:pt x="208" y="365"/>
                  <a:pt x="198" y="360"/>
                </a:cubicBezTo>
                <a:cubicBezTo>
                  <a:pt x="180" y="351"/>
                  <a:pt x="180" y="351"/>
                  <a:pt x="180" y="351"/>
                </a:cubicBezTo>
                <a:cubicBezTo>
                  <a:pt x="171" y="359"/>
                  <a:pt x="171" y="359"/>
                  <a:pt x="171" y="359"/>
                </a:cubicBezTo>
                <a:cubicBezTo>
                  <a:pt x="155" y="374"/>
                  <a:pt x="120" y="372"/>
                  <a:pt x="88" y="354"/>
                </a:cubicBezTo>
                <a:cubicBezTo>
                  <a:pt x="74" y="346"/>
                  <a:pt x="16" y="345"/>
                  <a:pt x="9" y="352"/>
                </a:cubicBezTo>
                <a:cubicBezTo>
                  <a:pt x="0" y="361"/>
                  <a:pt x="1" y="354"/>
                  <a:pt x="10" y="325"/>
                </a:cubicBezTo>
                <a:cubicBezTo>
                  <a:pt x="15" y="310"/>
                  <a:pt x="20" y="289"/>
                  <a:pt x="22" y="280"/>
                </a:cubicBezTo>
                <a:cubicBezTo>
                  <a:pt x="26" y="248"/>
                  <a:pt x="28" y="240"/>
                  <a:pt x="36" y="227"/>
                </a:cubicBezTo>
                <a:cubicBezTo>
                  <a:pt x="43" y="215"/>
                  <a:pt x="43" y="211"/>
                  <a:pt x="38" y="188"/>
                </a:cubicBezTo>
                <a:cubicBezTo>
                  <a:pt x="36" y="173"/>
                  <a:pt x="28" y="151"/>
                  <a:pt x="22" y="138"/>
                </a:cubicBezTo>
                <a:cubicBezTo>
                  <a:pt x="12" y="116"/>
                  <a:pt x="11" y="108"/>
                  <a:pt x="9" y="57"/>
                </a:cubicBezTo>
                <a:cubicBezTo>
                  <a:pt x="8" y="0"/>
                  <a:pt x="8" y="0"/>
                  <a:pt x="8" y="0"/>
                </a:cubicBezTo>
                <a:cubicBezTo>
                  <a:pt x="130" y="0"/>
                  <a:pt x="130" y="0"/>
                  <a:pt x="130" y="0"/>
                </a:cubicBezTo>
                <a:cubicBezTo>
                  <a:pt x="225" y="0"/>
                  <a:pt x="252" y="1"/>
                  <a:pt x="252" y="5"/>
                </a:cubicBezTo>
                <a:cubicBezTo>
                  <a:pt x="253" y="21"/>
                  <a:pt x="257" y="39"/>
                  <a:pt x="261" y="49"/>
                </a:cubicBezTo>
                <a:cubicBezTo>
                  <a:pt x="267" y="64"/>
                  <a:pt x="261" y="83"/>
                  <a:pt x="234" y="135"/>
                </a:cubicBezTo>
                <a:cubicBezTo>
                  <a:pt x="208" y="184"/>
                  <a:pt x="203" y="210"/>
                  <a:pt x="217" y="215"/>
                </a:cubicBezTo>
                <a:cubicBezTo>
                  <a:pt x="222" y="217"/>
                  <a:pt x="243" y="219"/>
                  <a:pt x="264" y="220"/>
                </a:cubicBezTo>
                <a:cubicBezTo>
                  <a:pt x="297" y="221"/>
                  <a:pt x="333" y="222"/>
                  <a:pt x="363" y="223"/>
                </a:cubicBezTo>
                <a:cubicBezTo>
                  <a:pt x="370" y="224"/>
                  <a:pt x="371" y="227"/>
                  <a:pt x="373" y="254"/>
                </a:cubicBezTo>
                <a:cubicBezTo>
                  <a:pt x="376" y="289"/>
                  <a:pt x="379" y="293"/>
                  <a:pt x="411" y="308"/>
                </a:cubicBezTo>
                <a:cubicBezTo>
                  <a:pt x="427" y="315"/>
                  <a:pt x="428" y="317"/>
                  <a:pt x="428" y="331"/>
                </a:cubicBezTo>
                <a:cubicBezTo>
                  <a:pt x="428" y="341"/>
                  <a:pt x="425" y="349"/>
                  <a:pt x="421" y="353"/>
                </a:cubicBezTo>
                <a:cubicBezTo>
                  <a:pt x="409" y="364"/>
                  <a:pt x="410" y="378"/>
                  <a:pt x="424" y="384"/>
                </a:cubicBezTo>
                <a:cubicBezTo>
                  <a:pt x="438" y="389"/>
                  <a:pt x="456" y="409"/>
                  <a:pt x="456" y="418"/>
                </a:cubicBezTo>
                <a:cubicBezTo>
                  <a:pt x="456" y="421"/>
                  <a:pt x="453" y="424"/>
                  <a:pt x="448" y="424"/>
                </a:cubicBezTo>
                <a:cubicBezTo>
                  <a:pt x="444" y="424"/>
                  <a:pt x="438" y="424"/>
                  <a:pt x="435" y="425"/>
                </a:cubicBezTo>
                <a:cubicBezTo>
                  <a:pt x="433" y="426"/>
                  <a:pt x="425" y="425"/>
                  <a:pt x="418" y="423"/>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428" name="Freeform 93"/>
          <p:cNvSpPr>
            <a:spLocks/>
          </p:cNvSpPr>
          <p:nvPr userDrawn="1"/>
        </p:nvSpPr>
        <p:spPr bwMode="black">
          <a:xfrm>
            <a:off x="6125534" y="2289066"/>
            <a:ext cx="28575" cy="20639"/>
          </a:xfrm>
          <a:custGeom>
            <a:avLst/>
            <a:gdLst>
              <a:gd name="T0" fmla="*/ 1 w 20"/>
              <a:gd name="T1" fmla="*/ 7 h 14"/>
              <a:gd name="T2" fmla="*/ 10 w 20"/>
              <a:gd name="T3" fmla="*/ 0 h 14"/>
              <a:gd name="T4" fmla="*/ 19 w 20"/>
              <a:gd name="T5" fmla="*/ 7 h 14"/>
              <a:gd name="T6" fmla="*/ 10 w 20"/>
              <a:gd name="T7" fmla="*/ 14 h 14"/>
              <a:gd name="T8" fmla="*/ 1 w 20"/>
              <a:gd name="T9" fmla="*/ 7 h 14"/>
            </a:gdLst>
            <a:ahLst/>
            <a:cxnLst>
              <a:cxn ang="0">
                <a:pos x="T0" y="T1"/>
              </a:cxn>
              <a:cxn ang="0">
                <a:pos x="T2" y="T3"/>
              </a:cxn>
              <a:cxn ang="0">
                <a:pos x="T4" y="T5"/>
              </a:cxn>
              <a:cxn ang="0">
                <a:pos x="T6" y="T7"/>
              </a:cxn>
              <a:cxn ang="0">
                <a:pos x="T8" y="T9"/>
              </a:cxn>
            </a:cxnLst>
            <a:rect l="0" t="0" r="r" b="b"/>
            <a:pathLst>
              <a:path w="20" h="14">
                <a:moveTo>
                  <a:pt x="1" y="7"/>
                </a:moveTo>
                <a:cubicBezTo>
                  <a:pt x="2" y="3"/>
                  <a:pt x="6" y="0"/>
                  <a:pt x="10" y="0"/>
                </a:cubicBezTo>
                <a:cubicBezTo>
                  <a:pt x="14" y="0"/>
                  <a:pt x="19" y="3"/>
                  <a:pt x="19" y="7"/>
                </a:cubicBezTo>
                <a:cubicBezTo>
                  <a:pt x="20" y="12"/>
                  <a:pt x="18" y="14"/>
                  <a:pt x="10" y="14"/>
                </a:cubicBezTo>
                <a:cubicBezTo>
                  <a:pt x="2" y="14"/>
                  <a:pt x="0" y="12"/>
                  <a:pt x="1" y="7"/>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429" name="Freeform 94"/>
          <p:cNvSpPr>
            <a:spLocks/>
          </p:cNvSpPr>
          <p:nvPr userDrawn="1"/>
        </p:nvSpPr>
        <p:spPr bwMode="black">
          <a:xfrm>
            <a:off x="6181095" y="2270017"/>
            <a:ext cx="39688" cy="22225"/>
          </a:xfrm>
          <a:custGeom>
            <a:avLst/>
            <a:gdLst>
              <a:gd name="T0" fmla="*/ 7 w 28"/>
              <a:gd name="T1" fmla="*/ 13 h 16"/>
              <a:gd name="T2" fmla="*/ 19 w 28"/>
              <a:gd name="T3" fmla="*/ 0 h 16"/>
              <a:gd name="T4" fmla="*/ 21 w 28"/>
              <a:gd name="T5" fmla="*/ 11 h 16"/>
              <a:gd name="T6" fmla="*/ 7 w 28"/>
              <a:gd name="T7" fmla="*/ 13 h 16"/>
            </a:gdLst>
            <a:ahLst/>
            <a:cxnLst>
              <a:cxn ang="0">
                <a:pos x="T0" y="T1"/>
              </a:cxn>
              <a:cxn ang="0">
                <a:pos x="T2" y="T3"/>
              </a:cxn>
              <a:cxn ang="0">
                <a:pos x="T4" y="T5"/>
              </a:cxn>
              <a:cxn ang="0">
                <a:pos x="T6" y="T7"/>
              </a:cxn>
            </a:cxnLst>
            <a:rect l="0" t="0" r="r" b="b"/>
            <a:pathLst>
              <a:path w="28" h="16">
                <a:moveTo>
                  <a:pt x="7" y="13"/>
                </a:moveTo>
                <a:cubicBezTo>
                  <a:pt x="0" y="10"/>
                  <a:pt x="9" y="0"/>
                  <a:pt x="19" y="0"/>
                </a:cubicBezTo>
                <a:cubicBezTo>
                  <a:pt x="27" y="0"/>
                  <a:pt x="28" y="4"/>
                  <a:pt x="21" y="11"/>
                </a:cubicBezTo>
                <a:cubicBezTo>
                  <a:pt x="16" y="16"/>
                  <a:pt x="15" y="16"/>
                  <a:pt x="7" y="13"/>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430" name="Freeform 95"/>
          <p:cNvSpPr>
            <a:spLocks/>
          </p:cNvSpPr>
          <p:nvPr userDrawn="1"/>
        </p:nvSpPr>
        <p:spPr bwMode="black">
          <a:xfrm>
            <a:off x="5814383" y="2085866"/>
            <a:ext cx="404813" cy="206375"/>
          </a:xfrm>
          <a:custGeom>
            <a:avLst/>
            <a:gdLst>
              <a:gd name="T0" fmla="*/ 171 w 281"/>
              <a:gd name="T1" fmla="*/ 116 h 144"/>
              <a:gd name="T2" fmla="*/ 151 w 281"/>
              <a:gd name="T3" fmla="*/ 91 h 144"/>
              <a:gd name="T4" fmla="*/ 140 w 281"/>
              <a:gd name="T5" fmla="*/ 90 h 144"/>
              <a:gd name="T6" fmla="*/ 14 w 281"/>
              <a:gd name="T7" fmla="*/ 113 h 144"/>
              <a:gd name="T8" fmla="*/ 5 w 281"/>
              <a:gd name="T9" fmla="*/ 92 h 144"/>
              <a:gd name="T10" fmla="*/ 2 w 281"/>
              <a:gd name="T11" fmla="*/ 59 h 144"/>
              <a:gd name="T12" fmla="*/ 15 w 281"/>
              <a:gd name="T13" fmla="*/ 47 h 144"/>
              <a:gd name="T14" fmla="*/ 40 w 281"/>
              <a:gd name="T15" fmla="*/ 45 h 144"/>
              <a:gd name="T16" fmla="*/ 92 w 281"/>
              <a:gd name="T17" fmla="*/ 37 h 144"/>
              <a:gd name="T18" fmla="*/ 147 w 281"/>
              <a:gd name="T19" fmla="*/ 15 h 144"/>
              <a:gd name="T20" fmla="*/ 174 w 281"/>
              <a:gd name="T21" fmla="*/ 0 h 144"/>
              <a:gd name="T22" fmla="*/ 190 w 281"/>
              <a:gd name="T23" fmla="*/ 29 h 144"/>
              <a:gd name="T24" fmla="*/ 191 w 281"/>
              <a:gd name="T25" fmla="*/ 58 h 144"/>
              <a:gd name="T26" fmla="*/ 213 w 281"/>
              <a:gd name="T27" fmla="*/ 76 h 144"/>
              <a:gd name="T28" fmla="*/ 228 w 281"/>
              <a:gd name="T29" fmla="*/ 88 h 144"/>
              <a:gd name="T30" fmla="*/ 258 w 281"/>
              <a:gd name="T31" fmla="*/ 101 h 144"/>
              <a:gd name="T32" fmla="*/ 253 w 281"/>
              <a:gd name="T33" fmla="*/ 73 h 144"/>
              <a:gd name="T34" fmla="*/ 255 w 281"/>
              <a:gd name="T35" fmla="*/ 68 h 144"/>
              <a:gd name="T36" fmla="*/ 272 w 281"/>
              <a:gd name="T37" fmla="*/ 80 h 144"/>
              <a:gd name="T38" fmla="*/ 273 w 281"/>
              <a:gd name="T39" fmla="*/ 103 h 144"/>
              <a:gd name="T40" fmla="*/ 246 w 281"/>
              <a:gd name="T41" fmla="*/ 120 h 144"/>
              <a:gd name="T42" fmla="*/ 214 w 281"/>
              <a:gd name="T43" fmla="*/ 133 h 144"/>
              <a:gd name="T44" fmla="*/ 171 w 281"/>
              <a:gd name="T45" fmla="*/ 11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1" h="144">
                <a:moveTo>
                  <a:pt x="171" y="116"/>
                </a:moveTo>
                <a:cubicBezTo>
                  <a:pt x="162" y="102"/>
                  <a:pt x="153" y="91"/>
                  <a:pt x="151" y="91"/>
                </a:cubicBezTo>
                <a:cubicBezTo>
                  <a:pt x="148" y="91"/>
                  <a:pt x="143" y="90"/>
                  <a:pt x="140" y="90"/>
                </a:cubicBezTo>
                <a:cubicBezTo>
                  <a:pt x="134" y="89"/>
                  <a:pt x="53" y="104"/>
                  <a:pt x="14" y="113"/>
                </a:cubicBezTo>
                <a:cubicBezTo>
                  <a:pt x="6" y="115"/>
                  <a:pt x="5" y="113"/>
                  <a:pt x="5" y="92"/>
                </a:cubicBezTo>
                <a:cubicBezTo>
                  <a:pt x="4" y="80"/>
                  <a:pt x="3" y="65"/>
                  <a:pt x="2" y="59"/>
                </a:cubicBezTo>
                <a:cubicBezTo>
                  <a:pt x="0" y="48"/>
                  <a:pt x="0" y="48"/>
                  <a:pt x="15" y="47"/>
                </a:cubicBezTo>
                <a:cubicBezTo>
                  <a:pt x="23" y="47"/>
                  <a:pt x="35" y="46"/>
                  <a:pt x="40" y="45"/>
                </a:cubicBezTo>
                <a:cubicBezTo>
                  <a:pt x="46" y="44"/>
                  <a:pt x="69" y="41"/>
                  <a:pt x="92" y="37"/>
                </a:cubicBezTo>
                <a:cubicBezTo>
                  <a:pt x="131" y="31"/>
                  <a:pt x="134" y="30"/>
                  <a:pt x="147" y="15"/>
                </a:cubicBezTo>
                <a:cubicBezTo>
                  <a:pt x="158" y="3"/>
                  <a:pt x="164" y="0"/>
                  <a:pt x="174" y="0"/>
                </a:cubicBezTo>
                <a:cubicBezTo>
                  <a:pt x="193" y="0"/>
                  <a:pt x="197" y="6"/>
                  <a:pt x="190" y="29"/>
                </a:cubicBezTo>
                <a:cubicBezTo>
                  <a:pt x="185" y="47"/>
                  <a:pt x="185" y="49"/>
                  <a:pt x="191" y="58"/>
                </a:cubicBezTo>
                <a:cubicBezTo>
                  <a:pt x="195" y="63"/>
                  <a:pt x="205" y="71"/>
                  <a:pt x="213" y="76"/>
                </a:cubicBezTo>
                <a:cubicBezTo>
                  <a:pt x="221" y="81"/>
                  <a:pt x="228" y="86"/>
                  <a:pt x="228" y="88"/>
                </a:cubicBezTo>
                <a:cubicBezTo>
                  <a:pt x="228" y="93"/>
                  <a:pt x="252" y="103"/>
                  <a:pt x="258" y="101"/>
                </a:cubicBezTo>
                <a:cubicBezTo>
                  <a:pt x="266" y="98"/>
                  <a:pt x="263" y="80"/>
                  <a:pt x="253" y="73"/>
                </a:cubicBezTo>
                <a:cubicBezTo>
                  <a:pt x="247" y="68"/>
                  <a:pt x="247" y="68"/>
                  <a:pt x="255" y="68"/>
                </a:cubicBezTo>
                <a:cubicBezTo>
                  <a:pt x="260" y="68"/>
                  <a:pt x="267" y="73"/>
                  <a:pt x="272" y="80"/>
                </a:cubicBezTo>
                <a:cubicBezTo>
                  <a:pt x="281" y="92"/>
                  <a:pt x="281" y="92"/>
                  <a:pt x="273" y="103"/>
                </a:cubicBezTo>
                <a:cubicBezTo>
                  <a:pt x="269" y="108"/>
                  <a:pt x="257" y="116"/>
                  <a:pt x="246" y="120"/>
                </a:cubicBezTo>
                <a:cubicBezTo>
                  <a:pt x="235" y="123"/>
                  <a:pt x="221" y="129"/>
                  <a:pt x="214" y="133"/>
                </a:cubicBezTo>
                <a:cubicBezTo>
                  <a:pt x="194" y="144"/>
                  <a:pt x="187" y="142"/>
                  <a:pt x="171" y="116"/>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431" name="Freeform 96"/>
          <p:cNvSpPr>
            <a:spLocks/>
          </p:cNvSpPr>
          <p:nvPr userDrawn="1"/>
        </p:nvSpPr>
        <p:spPr bwMode="black">
          <a:xfrm>
            <a:off x="5209546" y="2676417"/>
            <a:ext cx="525463" cy="241300"/>
          </a:xfrm>
          <a:custGeom>
            <a:avLst/>
            <a:gdLst>
              <a:gd name="T0" fmla="*/ 306 w 365"/>
              <a:gd name="T1" fmla="*/ 158 h 168"/>
              <a:gd name="T2" fmla="*/ 293 w 365"/>
              <a:gd name="T3" fmla="*/ 150 h 168"/>
              <a:gd name="T4" fmla="*/ 261 w 365"/>
              <a:gd name="T5" fmla="*/ 93 h 168"/>
              <a:gd name="T6" fmla="*/ 259 w 365"/>
              <a:gd name="T7" fmla="*/ 64 h 168"/>
              <a:gd name="T8" fmla="*/ 261 w 365"/>
              <a:gd name="T9" fmla="*/ 43 h 168"/>
              <a:gd name="T10" fmla="*/ 264 w 365"/>
              <a:gd name="T11" fmla="*/ 30 h 168"/>
              <a:gd name="T12" fmla="*/ 239 w 365"/>
              <a:gd name="T13" fmla="*/ 45 h 168"/>
              <a:gd name="T14" fmla="*/ 246 w 365"/>
              <a:gd name="T15" fmla="*/ 146 h 168"/>
              <a:gd name="T16" fmla="*/ 254 w 365"/>
              <a:gd name="T17" fmla="*/ 162 h 168"/>
              <a:gd name="T18" fmla="*/ 245 w 365"/>
              <a:gd name="T19" fmla="*/ 159 h 168"/>
              <a:gd name="T20" fmla="*/ 224 w 365"/>
              <a:gd name="T21" fmla="*/ 154 h 168"/>
              <a:gd name="T22" fmla="*/ 193 w 365"/>
              <a:gd name="T23" fmla="*/ 123 h 168"/>
              <a:gd name="T24" fmla="*/ 207 w 365"/>
              <a:gd name="T25" fmla="*/ 98 h 168"/>
              <a:gd name="T26" fmla="*/ 220 w 365"/>
              <a:gd name="T27" fmla="*/ 83 h 168"/>
              <a:gd name="T28" fmla="*/ 210 w 365"/>
              <a:gd name="T29" fmla="*/ 72 h 168"/>
              <a:gd name="T30" fmla="*/ 200 w 365"/>
              <a:gd name="T31" fmla="*/ 61 h 168"/>
              <a:gd name="T32" fmla="*/ 188 w 365"/>
              <a:gd name="T33" fmla="*/ 71 h 168"/>
              <a:gd name="T34" fmla="*/ 155 w 365"/>
              <a:gd name="T35" fmla="*/ 70 h 168"/>
              <a:gd name="T36" fmla="*/ 138 w 365"/>
              <a:gd name="T37" fmla="*/ 50 h 168"/>
              <a:gd name="T38" fmla="*/ 106 w 365"/>
              <a:gd name="T39" fmla="*/ 37 h 168"/>
              <a:gd name="T40" fmla="*/ 29 w 365"/>
              <a:gd name="T41" fmla="*/ 63 h 168"/>
              <a:gd name="T42" fmla="*/ 7 w 365"/>
              <a:gd name="T43" fmla="*/ 76 h 168"/>
              <a:gd name="T44" fmla="*/ 3 w 365"/>
              <a:gd name="T45" fmla="*/ 60 h 168"/>
              <a:gd name="T46" fmla="*/ 18 w 365"/>
              <a:gd name="T47" fmla="*/ 44 h 168"/>
              <a:gd name="T48" fmla="*/ 107 w 365"/>
              <a:gd name="T49" fmla="*/ 29 h 168"/>
              <a:gd name="T50" fmla="*/ 213 w 365"/>
              <a:gd name="T51" fmla="*/ 11 h 168"/>
              <a:gd name="T52" fmla="*/ 239 w 365"/>
              <a:gd name="T53" fmla="*/ 6 h 168"/>
              <a:gd name="T54" fmla="*/ 259 w 365"/>
              <a:gd name="T55" fmla="*/ 2 h 168"/>
              <a:gd name="T56" fmla="*/ 272 w 365"/>
              <a:gd name="T57" fmla="*/ 0 h 168"/>
              <a:gd name="T58" fmla="*/ 279 w 365"/>
              <a:gd name="T59" fmla="*/ 37 h 168"/>
              <a:gd name="T60" fmla="*/ 294 w 365"/>
              <a:gd name="T61" fmla="*/ 100 h 168"/>
              <a:gd name="T62" fmla="*/ 302 w 365"/>
              <a:gd name="T63" fmla="*/ 125 h 168"/>
              <a:gd name="T64" fmla="*/ 333 w 365"/>
              <a:gd name="T65" fmla="*/ 125 h 168"/>
              <a:gd name="T66" fmla="*/ 365 w 365"/>
              <a:gd name="T67" fmla="*/ 125 h 168"/>
              <a:gd name="T68" fmla="*/ 364 w 365"/>
              <a:gd name="T69" fmla="*/ 142 h 168"/>
              <a:gd name="T70" fmla="*/ 361 w 365"/>
              <a:gd name="T71" fmla="*/ 162 h 168"/>
              <a:gd name="T72" fmla="*/ 335 w 365"/>
              <a:gd name="T73" fmla="*/ 166 h 168"/>
              <a:gd name="T74" fmla="*/ 306 w 365"/>
              <a:gd name="T75" fmla="*/ 15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65" h="168">
                <a:moveTo>
                  <a:pt x="306" y="158"/>
                </a:moveTo>
                <a:cubicBezTo>
                  <a:pt x="302" y="151"/>
                  <a:pt x="299" y="148"/>
                  <a:pt x="293" y="150"/>
                </a:cubicBezTo>
                <a:cubicBezTo>
                  <a:pt x="278" y="154"/>
                  <a:pt x="262" y="125"/>
                  <a:pt x="261" y="93"/>
                </a:cubicBezTo>
                <a:cubicBezTo>
                  <a:pt x="261" y="85"/>
                  <a:pt x="260" y="72"/>
                  <a:pt x="259" y="64"/>
                </a:cubicBezTo>
                <a:cubicBezTo>
                  <a:pt x="257" y="54"/>
                  <a:pt x="258" y="46"/>
                  <a:pt x="261" y="43"/>
                </a:cubicBezTo>
                <a:cubicBezTo>
                  <a:pt x="264" y="39"/>
                  <a:pt x="265" y="34"/>
                  <a:pt x="264" y="30"/>
                </a:cubicBezTo>
                <a:cubicBezTo>
                  <a:pt x="260" y="22"/>
                  <a:pt x="247" y="29"/>
                  <a:pt x="239" y="45"/>
                </a:cubicBezTo>
                <a:cubicBezTo>
                  <a:pt x="230" y="62"/>
                  <a:pt x="235" y="124"/>
                  <a:pt x="246" y="146"/>
                </a:cubicBezTo>
                <a:cubicBezTo>
                  <a:pt x="254" y="162"/>
                  <a:pt x="254" y="162"/>
                  <a:pt x="254" y="162"/>
                </a:cubicBezTo>
                <a:cubicBezTo>
                  <a:pt x="245" y="159"/>
                  <a:pt x="245" y="159"/>
                  <a:pt x="245" y="159"/>
                </a:cubicBezTo>
                <a:cubicBezTo>
                  <a:pt x="239" y="158"/>
                  <a:pt x="230" y="155"/>
                  <a:pt x="224" y="154"/>
                </a:cubicBezTo>
                <a:cubicBezTo>
                  <a:pt x="209" y="151"/>
                  <a:pt x="193" y="135"/>
                  <a:pt x="193" y="123"/>
                </a:cubicBezTo>
                <a:cubicBezTo>
                  <a:pt x="193" y="118"/>
                  <a:pt x="199" y="107"/>
                  <a:pt x="207" y="98"/>
                </a:cubicBezTo>
                <a:cubicBezTo>
                  <a:pt x="220" y="83"/>
                  <a:pt x="220" y="83"/>
                  <a:pt x="220" y="83"/>
                </a:cubicBezTo>
                <a:cubicBezTo>
                  <a:pt x="210" y="72"/>
                  <a:pt x="210" y="72"/>
                  <a:pt x="210" y="72"/>
                </a:cubicBezTo>
                <a:cubicBezTo>
                  <a:pt x="200" y="61"/>
                  <a:pt x="200" y="61"/>
                  <a:pt x="200" y="61"/>
                </a:cubicBezTo>
                <a:cubicBezTo>
                  <a:pt x="188" y="71"/>
                  <a:pt x="188" y="71"/>
                  <a:pt x="188" y="71"/>
                </a:cubicBezTo>
                <a:cubicBezTo>
                  <a:pt x="175" y="82"/>
                  <a:pt x="162" y="81"/>
                  <a:pt x="155" y="70"/>
                </a:cubicBezTo>
                <a:cubicBezTo>
                  <a:pt x="153" y="66"/>
                  <a:pt x="145" y="57"/>
                  <a:pt x="138" y="50"/>
                </a:cubicBezTo>
                <a:cubicBezTo>
                  <a:pt x="126" y="39"/>
                  <a:pt x="122" y="37"/>
                  <a:pt x="106" y="37"/>
                </a:cubicBezTo>
                <a:cubicBezTo>
                  <a:pt x="79" y="37"/>
                  <a:pt x="53" y="46"/>
                  <a:pt x="29" y="63"/>
                </a:cubicBezTo>
                <a:cubicBezTo>
                  <a:pt x="18" y="71"/>
                  <a:pt x="8" y="77"/>
                  <a:pt x="7" y="76"/>
                </a:cubicBezTo>
                <a:cubicBezTo>
                  <a:pt x="6" y="74"/>
                  <a:pt x="4" y="67"/>
                  <a:pt x="3" y="60"/>
                </a:cubicBezTo>
                <a:cubicBezTo>
                  <a:pt x="0" y="46"/>
                  <a:pt x="0" y="46"/>
                  <a:pt x="18" y="44"/>
                </a:cubicBezTo>
                <a:cubicBezTo>
                  <a:pt x="27" y="42"/>
                  <a:pt x="68" y="36"/>
                  <a:pt x="107" y="29"/>
                </a:cubicBezTo>
                <a:cubicBezTo>
                  <a:pt x="181" y="16"/>
                  <a:pt x="183" y="16"/>
                  <a:pt x="213" y="11"/>
                </a:cubicBezTo>
                <a:cubicBezTo>
                  <a:pt x="223" y="9"/>
                  <a:pt x="235" y="7"/>
                  <a:pt x="239" y="6"/>
                </a:cubicBezTo>
                <a:cubicBezTo>
                  <a:pt x="244" y="5"/>
                  <a:pt x="253" y="3"/>
                  <a:pt x="259" y="2"/>
                </a:cubicBezTo>
                <a:cubicBezTo>
                  <a:pt x="272" y="0"/>
                  <a:pt x="272" y="0"/>
                  <a:pt x="272" y="0"/>
                </a:cubicBezTo>
                <a:cubicBezTo>
                  <a:pt x="279" y="37"/>
                  <a:pt x="279" y="37"/>
                  <a:pt x="279" y="37"/>
                </a:cubicBezTo>
                <a:cubicBezTo>
                  <a:pt x="282" y="58"/>
                  <a:pt x="289" y="86"/>
                  <a:pt x="294" y="100"/>
                </a:cubicBezTo>
                <a:cubicBezTo>
                  <a:pt x="302" y="125"/>
                  <a:pt x="302" y="125"/>
                  <a:pt x="302" y="125"/>
                </a:cubicBezTo>
                <a:cubicBezTo>
                  <a:pt x="333" y="125"/>
                  <a:pt x="333" y="125"/>
                  <a:pt x="333" y="125"/>
                </a:cubicBezTo>
                <a:cubicBezTo>
                  <a:pt x="365" y="125"/>
                  <a:pt x="365" y="125"/>
                  <a:pt x="365" y="125"/>
                </a:cubicBezTo>
                <a:cubicBezTo>
                  <a:pt x="364" y="142"/>
                  <a:pt x="364" y="142"/>
                  <a:pt x="364" y="142"/>
                </a:cubicBezTo>
                <a:cubicBezTo>
                  <a:pt x="363" y="152"/>
                  <a:pt x="362" y="161"/>
                  <a:pt x="361" y="162"/>
                </a:cubicBezTo>
                <a:cubicBezTo>
                  <a:pt x="360" y="163"/>
                  <a:pt x="348" y="165"/>
                  <a:pt x="335" y="166"/>
                </a:cubicBezTo>
                <a:cubicBezTo>
                  <a:pt x="311" y="168"/>
                  <a:pt x="310" y="168"/>
                  <a:pt x="306" y="158"/>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432" name="Freeform 97"/>
          <p:cNvSpPr>
            <a:spLocks/>
          </p:cNvSpPr>
          <p:nvPr userDrawn="1"/>
        </p:nvSpPr>
        <p:spPr bwMode="black">
          <a:xfrm>
            <a:off x="5966781" y="1368317"/>
            <a:ext cx="450851" cy="652463"/>
          </a:xfrm>
          <a:custGeom>
            <a:avLst/>
            <a:gdLst>
              <a:gd name="T0" fmla="*/ 57 w 314"/>
              <a:gd name="T1" fmla="*/ 440 h 454"/>
              <a:gd name="T2" fmla="*/ 5 w 314"/>
              <a:gd name="T3" fmla="*/ 279 h 454"/>
              <a:gd name="T4" fmla="*/ 1 w 314"/>
              <a:gd name="T5" fmla="*/ 262 h 454"/>
              <a:gd name="T6" fmla="*/ 3 w 314"/>
              <a:gd name="T7" fmla="*/ 253 h 454"/>
              <a:gd name="T8" fmla="*/ 26 w 314"/>
              <a:gd name="T9" fmla="*/ 187 h 454"/>
              <a:gd name="T10" fmla="*/ 32 w 314"/>
              <a:gd name="T11" fmla="*/ 147 h 454"/>
              <a:gd name="T12" fmla="*/ 38 w 314"/>
              <a:gd name="T13" fmla="*/ 101 h 454"/>
              <a:gd name="T14" fmla="*/ 51 w 314"/>
              <a:gd name="T15" fmla="*/ 45 h 454"/>
              <a:gd name="T16" fmla="*/ 61 w 314"/>
              <a:gd name="T17" fmla="*/ 13 h 454"/>
              <a:gd name="T18" fmla="*/ 88 w 314"/>
              <a:gd name="T19" fmla="*/ 10 h 454"/>
              <a:gd name="T20" fmla="*/ 120 w 314"/>
              <a:gd name="T21" fmla="*/ 4 h 454"/>
              <a:gd name="T22" fmla="*/ 134 w 314"/>
              <a:gd name="T23" fmla="*/ 1 h 454"/>
              <a:gd name="T24" fmla="*/ 149 w 314"/>
              <a:gd name="T25" fmla="*/ 2 h 454"/>
              <a:gd name="T26" fmla="*/ 169 w 314"/>
              <a:gd name="T27" fmla="*/ 15 h 454"/>
              <a:gd name="T28" fmla="*/ 182 w 314"/>
              <a:gd name="T29" fmla="*/ 42 h 454"/>
              <a:gd name="T30" fmla="*/ 229 w 314"/>
              <a:gd name="T31" fmla="*/ 159 h 454"/>
              <a:gd name="T32" fmla="*/ 239 w 314"/>
              <a:gd name="T33" fmla="*/ 168 h 454"/>
              <a:gd name="T34" fmla="*/ 251 w 314"/>
              <a:gd name="T35" fmla="*/ 187 h 454"/>
              <a:gd name="T36" fmla="*/ 283 w 314"/>
              <a:gd name="T37" fmla="*/ 206 h 454"/>
              <a:gd name="T38" fmla="*/ 308 w 314"/>
              <a:gd name="T39" fmla="*/ 232 h 454"/>
              <a:gd name="T40" fmla="*/ 259 w 314"/>
              <a:gd name="T41" fmla="*/ 276 h 454"/>
              <a:gd name="T42" fmla="*/ 205 w 314"/>
              <a:gd name="T43" fmla="*/ 316 h 454"/>
              <a:gd name="T44" fmla="*/ 151 w 314"/>
              <a:gd name="T45" fmla="*/ 364 h 454"/>
              <a:gd name="T46" fmla="*/ 117 w 314"/>
              <a:gd name="T47" fmla="*/ 397 h 454"/>
              <a:gd name="T48" fmla="*/ 86 w 314"/>
              <a:gd name="T49" fmla="*/ 434 h 454"/>
              <a:gd name="T50" fmla="*/ 69 w 314"/>
              <a:gd name="T51" fmla="*/ 454 h 454"/>
              <a:gd name="T52" fmla="*/ 57 w 314"/>
              <a:gd name="T53" fmla="*/ 44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4" h="454">
                <a:moveTo>
                  <a:pt x="57" y="440"/>
                </a:moveTo>
                <a:cubicBezTo>
                  <a:pt x="44" y="423"/>
                  <a:pt x="14" y="332"/>
                  <a:pt x="5" y="279"/>
                </a:cubicBezTo>
                <a:cubicBezTo>
                  <a:pt x="4" y="273"/>
                  <a:pt x="2" y="266"/>
                  <a:pt x="1" y="262"/>
                </a:cubicBezTo>
                <a:cubicBezTo>
                  <a:pt x="0" y="258"/>
                  <a:pt x="1" y="254"/>
                  <a:pt x="3" y="253"/>
                </a:cubicBezTo>
                <a:cubicBezTo>
                  <a:pt x="9" y="249"/>
                  <a:pt x="24" y="206"/>
                  <a:pt x="26" y="187"/>
                </a:cubicBezTo>
                <a:cubicBezTo>
                  <a:pt x="27" y="177"/>
                  <a:pt x="29" y="159"/>
                  <a:pt x="32" y="147"/>
                </a:cubicBezTo>
                <a:cubicBezTo>
                  <a:pt x="34" y="134"/>
                  <a:pt x="37" y="114"/>
                  <a:pt x="38" y="101"/>
                </a:cubicBezTo>
                <a:cubicBezTo>
                  <a:pt x="39" y="88"/>
                  <a:pt x="45" y="63"/>
                  <a:pt x="51" y="45"/>
                </a:cubicBezTo>
                <a:cubicBezTo>
                  <a:pt x="61" y="13"/>
                  <a:pt x="61" y="13"/>
                  <a:pt x="61" y="13"/>
                </a:cubicBezTo>
                <a:cubicBezTo>
                  <a:pt x="88" y="10"/>
                  <a:pt x="88" y="10"/>
                  <a:pt x="88" y="10"/>
                </a:cubicBezTo>
                <a:cubicBezTo>
                  <a:pt x="103" y="8"/>
                  <a:pt x="118" y="6"/>
                  <a:pt x="120" y="4"/>
                </a:cubicBezTo>
                <a:cubicBezTo>
                  <a:pt x="123" y="2"/>
                  <a:pt x="129" y="0"/>
                  <a:pt x="134" y="1"/>
                </a:cubicBezTo>
                <a:cubicBezTo>
                  <a:pt x="139" y="1"/>
                  <a:pt x="146" y="2"/>
                  <a:pt x="149" y="2"/>
                </a:cubicBezTo>
                <a:cubicBezTo>
                  <a:pt x="152" y="2"/>
                  <a:pt x="161" y="8"/>
                  <a:pt x="169" y="15"/>
                </a:cubicBezTo>
                <a:cubicBezTo>
                  <a:pt x="180" y="24"/>
                  <a:pt x="182" y="29"/>
                  <a:pt x="182" y="42"/>
                </a:cubicBezTo>
                <a:cubicBezTo>
                  <a:pt x="181" y="79"/>
                  <a:pt x="210" y="151"/>
                  <a:pt x="229" y="159"/>
                </a:cubicBezTo>
                <a:cubicBezTo>
                  <a:pt x="235" y="162"/>
                  <a:pt x="239" y="166"/>
                  <a:pt x="239" y="168"/>
                </a:cubicBezTo>
                <a:cubicBezTo>
                  <a:pt x="239" y="171"/>
                  <a:pt x="245" y="179"/>
                  <a:pt x="251" y="187"/>
                </a:cubicBezTo>
                <a:cubicBezTo>
                  <a:pt x="260" y="198"/>
                  <a:pt x="268" y="203"/>
                  <a:pt x="283" y="206"/>
                </a:cubicBezTo>
                <a:cubicBezTo>
                  <a:pt x="307" y="212"/>
                  <a:pt x="314" y="219"/>
                  <a:pt x="308" y="232"/>
                </a:cubicBezTo>
                <a:cubicBezTo>
                  <a:pt x="296" y="253"/>
                  <a:pt x="276" y="271"/>
                  <a:pt x="259" y="276"/>
                </a:cubicBezTo>
                <a:cubicBezTo>
                  <a:pt x="245" y="280"/>
                  <a:pt x="232" y="290"/>
                  <a:pt x="205" y="316"/>
                </a:cubicBezTo>
                <a:cubicBezTo>
                  <a:pt x="185" y="335"/>
                  <a:pt x="161" y="356"/>
                  <a:pt x="151" y="364"/>
                </a:cubicBezTo>
                <a:cubicBezTo>
                  <a:pt x="141" y="371"/>
                  <a:pt x="126" y="386"/>
                  <a:pt x="117" y="397"/>
                </a:cubicBezTo>
                <a:cubicBezTo>
                  <a:pt x="108" y="407"/>
                  <a:pt x="94" y="424"/>
                  <a:pt x="86" y="434"/>
                </a:cubicBezTo>
                <a:cubicBezTo>
                  <a:pt x="77" y="444"/>
                  <a:pt x="70" y="453"/>
                  <a:pt x="69" y="454"/>
                </a:cubicBezTo>
                <a:cubicBezTo>
                  <a:pt x="69" y="454"/>
                  <a:pt x="63" y="448"/>
                  <a:pt x="57" y="440"/>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433" name="Freeform 98"/>
          <p:cNvSpPr>
            <a:spLocks/>
          </p:cNvSpPr>
          <p:nvPr userDrawn="1"/>
        </p:nvSpPr>
        <p:spPr bwMode="black">
          <a:xfrm>
            <a:off x="4349120" y="1863615"/>
            <a:ext cx="466725" cy="611188"/>
          </a:xfrm>
          <a:custGeom>
            <a:avLst/>
            <a:gdLst>
              <a:gd name="T0" fmla="*/ 8 w 325"/>
              <a:gd name="T1" fmla="*/ 423 h 426"/>
              <a:gd name="T2" fmla="*/ 14 w 325"/>
              <a:gd name="T3" fmla="*/ 412 h 426"/>
              <a:gd name="T4" fmla="*/ 20 w 325"/>
              <a:gd name="T5" fmla="*/ 396 h 426"/>
              <a:gd name="T6" fmla="*/ 29 w 325"/>
              <a:gd name="T7" fmla="*/ 361 h 426"/>
              <a:gd name="T8" fmla="*/ 33 w 325"/>
              <a:gd name="T9" fmla="*/ 324 h 426"/>
              <a:gd name="T10" fmla="*/ 28 w 325"/>
              <a:gd name="T11" fmla="*/ 296 h 426"/>
              <a:gd name="T12" fmla="*/ 25 w 325"/>
              <a:gd name="T13" fmla="*/ 279 h 426"/>
              <a:gd name="T14" fmla="*/ 12 w 325"/>
              <a:gd name="T15" fmla="*/ 258 h 426"/>
              <a:gd name="T16" fmla="*/ 11 w 325"/>
              <a:gd name="T17" fmla="*/ 180 h 426"/>
              <a:gd name="T18" fmla="*/ 19 w 325"/>
              <a:gd name="T19" fmla="*/ 152 h 426"/>
              <a:gd name="T20" fmla="*/ 26 w 325"/>
              <a:gd name="T21" fmla="*/ 128 h 426"/>
              <a:gd name="T22" fmla="*/ 32 w 325"/>
              <a:gd name="T23" fmla="*/ 113 h 426"/>
              <a:gd name="T24" fmla="*/ 42 w 325"/>
              <a:gd name="T25" fmla="*/ 99 h 426"/>
              <a:gd name="T26" fmla="*/ 52 w 325"/>
              <a:gd name="T27" fmla="*/ 91 h 426"/>
              <a:gd name="T28" fmla="*/ 63 w 325"/>
              <a:gd name="T29" fmla="*/ 98 h 426"/>
              <a:gd name="T30" fmla="*/ 74 w 325"/>
              <a:gd name="T31" fmla="*/ 112 h 426"/>
              <a:gd name="T32" fmla="*/ 80 w 325"/>
              <a:gd name="T33" fmla="*/ 99 h 426"/>
              <a:gd name="T34" fmla="*/ 86 w 325"/>
              <a:gd name="T35" fmla="*/ 82 h 426"/>
              <a:gd name="T36" fmla="*/ 89 w 325"/>
              <a:gd name="T37" fmla="*/ 65 h 426"/>
              <a:gd name="T38" fmla="*/ 97 w 325"/>
              <a:gd name="T39" fmla="*/ 54 h 426"/>
              <a:gd name="T40" fmla="*/ 107 w 325"/>
              <a:gd name="T41" fmla="*/ 37 h 426"/>
              <a:gd name="T42" fmla="*/ 125 w 325"/>
              <a:gd name="T43" fmla="*/ 6 h 426"/>
              <a:gd name="T44" fmla="*/ 144 w 325"/>
              <a:gd name="T45" fmla="*/ 3 h 426"/>
              <a:gd name="T46" fmla="*/ 163 w 325"/>
              <a:gd name="T47" fmla="*/ 14 h 426"/>
              <a:gd name="T48" fmla="*/ 196 w 325"/>
              <a:gd name="T49" fmla="*/ 35 h 426"/>
              <a:gd name="T50" fmla="*/ 238 w 325"/>
              <a:gd name="T51" fmla="*/ 97 h 426"/>
              <a:gd name="T52" fmla="*/ 232 w 325"/>
              <a:gd name="T53" fmla="*/ 155 h 426"/>
              <a:gd name="T54" fmla="*/ 220 w 325"/>
              <a:gd name="T55" fmla="*/ 184 h 426"/>
              <a:gd name="T56" fmla="*/ 214 w 325"/>
              <a:gd name="T57" fmla="*/ 187 h 426"/>
              <a:gd name="T58" fmla="*/ 208 w 325"/>
              <a:gd name="T59" fmla="*/ 200 h 426"/>
              <a:gd name="T60" fmla="*/ 214 w 325"/>
              <a:gd name="T61" fmla="*/ 219 h 426"/>
              <a:gd name="T62" fmla="*/ 255 w 325"/>
              <a:gd name="T63" fmla="*/ 193 h 426"/>
              <a:gd name="T64" fmla="*/ 276 w 325"/>
              <a:gd name="T65" fmla="*/ 173 h 426"/>
              <a:gd name="T66" fmla="*/ 289 w 325"/>
              <a:gd name="T67" fmla="*/ 188 h 426"/>
              <a:gd name="T68" fmla="*/ 315 w 325"/>
              <a:gd name="T69" fmla="*/ 249 h 426"/>
              <a:gd name="T70" fmla="*/ 320 w 325"/>
              <a:gd name="T71" fmla="*/ 271 h 426"/>
              <a:gd name="T72" fmla="*/ 294 w 325"/>
              <a:gd name="T73" fmla="*/ 334 h 426"/>
              <a:gd name="T74" fmla="*/ 276 w 325"/>
              <a:gd name="T75" fmla="*/ 358 h 426"/>
              <a:gd name="T76" fmla="*/ 270 w 325"/>
              <a:gd name="T77" fmla="*/ 373 h 426"/>
              <a:gd name="T78" fmla="*/ 263 w 325"/>
              <a:gd name="T79" fmla="*/ 401 h 426"/>
              <a:gd name="T80" fmla="*/ 263 w 325"/>
              <a:gd name="T81" fmla="*/ 419 h 426"/>
              <a:gd name="T82" fmla="*/ 240 w 325"/>
              <a:gd name="T83" fmla="*/ 419 h 426"/>
              <a:gd name="T84" fmla="*/ 210 w 325"/>
              <a:gd name="T85" fmla="*/ 421 h 426"/>
              <a:gd name="T86" fmla="*/ 124 w 325"/>
              <a:gd name="T87" fmla="*/ 422 h 426"/>
              <a:gd name="T88" fmla="*/ 61 w 325"/>
              <a:gd name="T89" fmla="*/ 424 h 426"/>
              <a:gd name="T90" fmla="*/ 8 w 325"/>
              <a:gd name="T91" fmla="*/ 42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5" h="426">
                <a:moveTo>
                  <a:pt x="8" y="423"/>
                </a:moveTo>
                <a:cubicBezTo>
                  <a:pt x="8" y="420"/>
                  <a:pt x="11" y="415"/>
                  <a:pt x="14" y="412"/>
                </a:cubicBezTo>
                <a:cubicBezTo>
                  <a:pt x="17" y="409"/>
                  <a:pt x="20" y="402"/>
                  <a:pt x="20" y="396"/>
                </a:cubicBezTo>
                <a:cubicBezTo>
                  <a:pt x="20" y="391"/>
                  <a:pt x="24" y="375"/>
                  <a:pt x="29" y="361"/>
                </a:cubicBezTo>
                <a:cubicBezTo>
                  <a:pt x="36" y="339"/>
                  <a:pt x="36" y="332"/>
                  <a:pt x="33" y="324"/>
                </a:cubicBezTo>
                <a:cubicBezTo>
                  <a:pt x="30" y="319"/>
                  <a:pt x="28" y="306"/>
                  <a:pt x="28" y="296"/>
                </a:cubicBezTo>
                <a:cubicBezTo>
                  <a:pt x="28" y="287"/>
                  <a:pt x="27" y="279"/>
                  <a:pt x="25" y="279"/>
                </a:cubicBezTo>
                <a:cubicBezTo>
                  <a:pt x="23" y="279"/>
                  <a:pt x="17" y="269"/>
                  <a:pt x="12" y="258"/>
                </a:cubicBezTo>
                <a:cubicBezTo>
                  <a:pt x="1" y="234"/>
                  <a:pt x="0" y="197"/>
                  <a:pt x="11" y="180"/>
                </a:cubicBezTo>
                <a:cubicBezTo>
                  <a:pt x="14" y="175"/>
                  <a:pt x="18" y="162"/>
                  <a:pt x="19" y="152"/>
                </a:cubicBezTo>
                <a:cubicBezTo>
                  <a:pt x="20" y="142"/>
                  <a:pt x="23" y="131"/>
                  <a:pt x="26" y="128"/>
                </a:cubicBezTo>
                <a:cubicBezTo>
                  <a:pt x="29" y="125"/>
                  <a:pt x="32" y="118"/>
                  <a:pt x="32" y="113"/>
                </a:cubicBezTo>
                <a:cubicBezTo>
                  <a:pt x="32" y="107"/>
                  <a:pt x="36" y="102"/>
                  <a:pt x="42" y="99"/>
                </a:cubicBezTo>
                <a:cubicBezTo>
                  <a:pt x="48" y="97"/>
                  <a:pt x="52" y="93"/>
                  <a:pt x="52" y="91"/>
                </a:cubicBezTo>
                <a:cubicBezTo>
                  <a:pt x="52" y="82"/>
                  <a:pt x="60" y="87"/>
                  <a:pt x="63" y="98"/>
                </a:cubicBezTo>
                <a:cubicBezTo>
                  <a:pt x="66" y="113"/>
                  <a:pt x="68" y="115"/>
                  <a:pt x="74" y="112"/>
                </a:cubicBezTo>
                <a:cubicBezTo>
                  <a:pt x="77" y="111"/>
                  <a:pt x="80" y="105"/>
                  <a:pt x="80" y="99"/>
                </a:cubicBezTo>
                <a:cubicBezTo>
                  <a:pt x="80" y="93"/>
                  <a:pt x="83" y="85"/>
                  <a:pt x="86" y="82"/>
                </a:cubicBezTo>
                <a:cubicBezTo>
                  <a:pt x="89" y="78"/>
                  <a:pt x="90" y="70"/>
                  <a:pt x="89" y="65"/>
                </a:cubicBezTo>
                <a:cubicBezTo>
                  <a:pt x="88" y="57"/>
                  <a:pt x="89" y="55"/>
                  <a:pt x="97" y="54"/>
                </a:cubicBezTo>
                <a:cubicBezTo>
                  <a:pt x="105" y="53"/>
                  <a:pt x="106" y="50"/>
                  <a:pt x="107" y="37"/>
                </a:cubicBezTo>
                <a:cubicBezTo>
                  <a:pt x="108" y="0"/>
                  <a:pt x="106" y="3"/>
                  <a:pt x="125" y="6"/>
                </a:cubicBezTo>
                <a:cubicBezTo>
                  <a:pt x="135" y="7"/>
                  <a:pt x="142" y="6"/>
                  <a:pt x="144" y="3"/>
                </a:cubicBezTo>
                <a:cubicBezTo>
                  <a:pt x="146" y="0"/>
                  <a:pt x="152" y="4"/>
                  <a:pt x="163" y="14"/>
                </a:cubicBezTo>
                <a:cubicBezTo>
                  <a:pt x="173" y="23"/>
                  <a:pt x="187" y="32"/>
                  <a:pt x="196" y="35"/>
                </a:cubicBezTo>
                <a:cubicBezTo>
                  <a:pt x="223" y="42"/>
                  <a:pt x="234" y="58"/>
                  <a:pt x="238" y="97"/>
                </a:cubicBezTo>
                <a:cubicBezTo>
                  <a:pt x="242" y="134"/>
                  <a:pt x="242" y="141"/>
                  <a:pt x="232" y="155"/>
                </a:cubicBezTo>
                <a:cubicBezTo>
                  <a:pt x="224" y="165"/>
                  <a:pt x="222" y="173"/>
                  <a:pt x="220" y="184"/>
                </a:cubicBezTo>
                <a:cubicBezTo>
                  <a:pt x="220" y="185"/>
                  <a:pt x="217" y="187"/>
                  <a:pt x="214" y="187"/>
                </a:cubicBezTo>
                <a:cubicBezTo>
                  <a:pt x="210" y="187"/>
                  <a:pt x="208" y="191"/>
                  <a:pt x="208" y="200"/>
                </a:cubicBezTo>
                <a:cubicBezTo>
                  <a:pt x="208" y="207"/>
                  <a:pt x="211" y="216"/>
                  <a:pt x="214" y="219"/>
                </a:cubicBezTo>
                <a:cubicBezTo>
                  <a:pt x="221" y="224"/>
                  <a:pt x="224" y="223"/>
                  <a:pt x="255" y="193"/>
                </a:cubicBezTo>
                <a:cubicBezTo>
                  <a:pt x="276" y="173"/>
                  <a:pt x="276" y="173"/>
                  <a:pt x="276" y="173"/>
                </a:cubicBezTo>
                <a:cubicBezTo>
                  <a:pt x="289" y="188"/>
                  <a:pt x="289" y="188"/>
                  <a:pt x="289" y="188"/>
                </a:cubicBezTo>
                <a:cubicBezTo>
                  <a:pt x="302" y="202"/>
                  <a:pt x="311" y="223"/>
                  <a:pt x="315" y="249"/>
                </a:cubicBezTo>
                <a:cubicBezTo>
                  <a:pt x="316" y="255"/>
                  <a:pt x="318" y="265"/>
                  <a:pt x="320" y="271"/>
                </a:cubicBezTo>
                <a:cubicBezTo>
                  <a:pt x="325" y="288"/>
                  <a:pt x="315" y="315"/>
                  <a:pt x="294" y="334"/>
                </a:cubicBezTo>
                <a:cubicBezTo>
                  <a:pt x="284" y="344"/>
                  <a:pt x="276" y="355"/>
                  <a:pt x="276" y="358"/>
                </a:cubicBezTo>
                <a:cubicBezTo>
                  <a:pt x="276" y="360"/>
                  <a:pt x="273" y="367"/>
                  <a:pt x="270" y="373"/>
                </a:cubicBezTo>
                <a:cubicBezTo>
                  <a:pt x="266" y="378"/>
                  <a:pt x="263" y="391"/>
                  <a:pt x="263" y="401"/>
                </a:cubicBezTo>
                <a:cubicBezTo>
                  <a:pt x="263" y="419"/>
                  <a:pt x="263" y="419"/>
                  <a:pt x="263" y="419"/>
                </a:cubicBezTo>
                <a:cubicBezTo>
                  <a:pt x="240" y="419"/>
                  <a:pt x="240" y="419"/>
                  <a:pt x="240" y="419"/>
                </a:cubicBezTo>
                <a:cubicBezTo>
                  <a:pt x="228" y="419"/>
                  <a:pt x="215" y="420"/>
                  <a:pt x="210" y="421"/>
                </a:cubicBezTo>
                <a:cubicBezTo>
                  <a:pt x="203" y="422"/>
                  <a:pt x="148" y="423"/>
                  <a:pt x="124" y="422"/>
                </a:cubicBezTo>
                <a:cubicBezTo>
                  <a:pt x="119" y="421"/>
                  <a:pt x="90" y="423"/>
                  <a:pt x="61" y="424"/>
                </a:cubicBezTo>
                <a:cubicBezTo>
                  <a:pt x="22" y="426"/>
                  <a:pt x="8" y="426"/>
                  <a:pt x="8" y="423"/>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434" name="Freeform 99"/>
          <p:cNvSpPr>
            <a:spLocks/>
          </p:cNvSpPr>
          <p:nvPr userDrawn="1"/>
        </p:nvSpPr>
        <p:spPr bwMode="black">
          <a:xfrm>
            <a:off x="3957007" y="1641366"/>
            <a:ext cx="658813" cy="315913"/>
          </a:xfrm>
          <a:custGeom>
            <a:avLst/>
            <a:gdLst>
              <a:gd name="T0" fmla="*/ 189 w 458"/>
              <a:gd name="T1" fmla="*/ 192 h 219"/>
              <a:gd name="T2" fmla="*/ 151 w 458"/>
              <a:gd name="T3" fmla="*/ 155 h 219"/>
              <a:gd name="T4" fmla="*/ 42 w 458"/>
              <a:gd name="T5" fmla="*/ 117 h 219"/>
              <a:gd name="T6" fmla="*/ 7 w 458"/>
              <a:gd name="T7" fmla="*/ 97 h 219"/>
              <a:gd name="T8" fmla="*/ 8 w 458"/>
              <a:gd name="T9" fmla="*/ 77 h 219"/>
              <a:gd name="T10" fmla="*/ 24 w 458"/>
              <a:gd name="T11" fmla="*/ 69 h 219"/>
              <a:gd name="T12" fmla="*/ 88 w 458"/>
              <a:gd name="T13" fmla="*/ 45 h 219"/>
              <a:gd name="T14" fmla="*/ 161 w 458"/>
              <a:gd name="T15" fmla="*/ 3 h 219"/>
              <a:gd name="T16" fmla="*/ 156 w 458"/>
              <a:gd name="T17" fmla="*/ 11 h 219"/>
              <a:gd name="T18" fmla="*/ 140 w 458"/>
              <a:gd name="T19" fmla="*/ 44 h 219"/>
              <a:gd name="T20" fmla="*/ 167 w 458"/>
              <a:gd name="T21" fmla="*/ 52 h 219"/>
              <a:gd name="T22" fmla="*/ 196 w 458"/>
              <a:gd name="T23" fmla="*/ 71 h 219"/>
              <a:gd name="T24" fmla="*/ 278 w 458"/>
              <a:gd name="T25" fmla="*/ 76 h 219"/>
              <a:gd name="T26" fmla="*/ 386 w 458"/>
              <a:gd name="T27" fmla="*/ 79 h 219"/>
              <a:gd name="T28" fmla="*/ 395 w 458"/>
              <a:gd name="T29" fmla="*/ 83 h 219"/>
              <a:gd name="T30" fmla="*/ 450 w 458"/>
              <a:gd name="T31" fmla="*/ 112 h 219"/>
              <a:gd name="T32" fmla="*/ 448 w 458"/>
              <a:gd name="T33" fmla="*/ 134 h 219"/>
              <a:gd name="T34" fmla="*/ 380 w 458"/>
              <a:gd name="T35" fmla="*/ 142 h 219"/>
              <a:gd name="T36" fmla="*/ 327 w 458"/>
              <a:gd name="T37" fmla="*/ 148 h 219"/>
              <a:gd name="T38" fmla="*/ 299 w 458"/>
              <a:gd name="T39" fmla="*/ 153 h 219"/>
              <a:gd name="T40" fmla="*/ 273 w 458"/>
              <a:gd name="T41" fmla="*/ 165 h 219"/>
              <a:gd name="T42" fmla="*/ 255 w 458"/>
              <a:gd name="T43" fmla="*/ 177 h 219"/>
              <a:gd name="T44" fmla="*/ 216 w 458"/>
              <a:gd name="T45" fmla="*/ 206 h 219"/>
              <a:gd name="T46" fmla="*/ 211 w 458"/>
              <a:gd name="T47" fmla="*/ 214 h 219"/>
              <a:gd name="T48" fmla="*/ 189 w 458"/>
              <a:gd name="T49" fmla="*/ 19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58" h="219">
                <a:moveTo>
                  <a:pt x="189" y="192"/>
                </a:moveTo>
                <a:cubicBezTo>
                  <a:pt x="174" y="169"/>
                  <a:pt x="168" y="163"/>
                  <a:pt x="151" y="155"/>
                </a:cubicBezTo>
                <a:cubicBezTo>
                  <a:pt x="124" y="143"/>
                  <a:pt x="77" y="126"/>
                  <a:pt x="42" y="117"/>
                </a:cubicBezTo>
                <a:cubicBezTo>
                  <a:pt x="19" y="111"/>
                  <a:pt x="14" y="108"/>
                  <a:pt x="7" y="97"/>
                </a:cubicBezTo>
                <a:cubicBezTo>
                  <a:pt x="0" y="85"/>
                  <a:pt x="0" y="84"/>
                  <a:pt x="8" y="77"/>
                </a:cubicBezTo>
                <a:cubicBezTo>
                  <a:pt x="13" y="72"/>
                  <a:pt x="20" y="69"/>
                  <a:pt x="24" y="69"/>
                </a:cubicBezTo>
                <a:cubicBezTo>
                  <a:pt x="39" y="69"/>
                  <a:pt x="74" y="56"/>
                  <a:pt x="88" y="45"/>
                </a:cubicBezTo>
                <a:cubicBezTo>
                  <a:pt x="121" y="19"/>
                  <a:pt x="155" y="0"/>
                  <a:pt x="161" y="3"/>
                </a:cubicBezTo>
                <a:cubicBezTo>
                  <a:pt x="163" y="4"/>
                  <a:pt x="161" y="8"/>
                  <a:pt x="156" y="11"/>
                </a:cubicBezTo>
                <a:cubicBezTo>
                  <a:pt x="145" y="19"/>
                  <a:pt x="136" y="38"/>
                  <a:pt x="140" y="44"/>
                </a:cubicBezTo>
                <a:cubicBezTo>
                  <a:pt x="143" y="49"/>
                  <a:pt x="151" y="52"/>
                  <a:pt x="167" y="52"/>
                </a:cubicBezTo>
                <a:cubicBezTo>
                  <a:pt x="172" y="52"/>
                  <a:pt x="185" y="61"/>
                  <a:pt x="196" y="71"/>
                </a:cubicBezTo>
                <a:cubicBezTo>
                  <a:pt x="219" y="91"/>
                  <a:pt x="222" y="91"/>
                  <a:pt x="278" y="76"/>
                </a:cubicBezTo>
                <a:cubicBezTo>
                  <a:pt x="333" y="61"/>
                  <a:pt x="379" y="62"/>
                  <a:pt x="386" y="79"/>
                </a:cubicBezTo>
                <a:cubicBezTo>
                  <a:pt x="387" y="83"/>
                  <a:pt x="391" y="84"/>
                  <a:pt x="395" y="83"/>
                </a:cubicBezTo>
                <a:cubicBezTo>
                  <a:pt x="407" y="79"/>
                  <a:pt x="443" y="98"/>
                  <a:pt x="450" y="112"/>
                </a:cubicBezTo>
                <a:cubicBezTo>
                  <a:pt x="458" y="128"/>
                  <a:pt x="458" y="131"/>
                  <a:pt x="448" y="134"/>
                </a:cubicBezTo>
                <a:cubicBezTo>
                  <a:pt x="431" y="140"/>
                  <a:pt x="420" y="141"/>
                  <a:pt x="380" y="142"/>
                </a:cubicBezTo>
                <a:cubicBezTo>
                  <a:pt x="357" y="143"/>
                  <a:pt x="333" y="146"/>
                  <a:pt x="327" y="148"/>
                </a:cubicBezTo>
                <a:cubicBezTo>
                  <a:pt x="321" y="151"/>
                  <a:pt x="308" y="153"/>
                  <a:pt x="299" y="153"/>
                </a:cubicBezTo>
                <a:cubicBezTo>
                  <a:pt x="284" y="153"/>
                  <a:pt x="280" y="154"/>
                  <a:pt x="273" y="165"/>
                </a:cubicBezTo>
                <a:cubicBezTo>
                  <a:pt x="267" y="172"/>
                  <a:pt x="260" y="177"/>
                  <a:pt x="255" y="177"/>
                </a:cubicBezTo>
                <a:cubicBezTo>
                  <a:pt x="246" y="177"/>
                  <a:pt x="216" y="200"/>
                  <a:pt x="216" y="206"/>
                </a:cubicBezTo>
                <a:cubicBezTo>
                  <a:pt x="216" y="208"/>
                  <a:pt x="214" y="212"/>
                  <a:pt x="211" y="214"/>
                </a:cubicBezTo>
                <a:cubicBezTo>
                  <a:pt x="206" y="219"/>
                  <a:pt x="203" y="215"/>
                  <a:pt x="189" y="192"/>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435" name="Freeform 100"/>
          <p:cNvSpPr>
            <a:spLocks/>
          </p:cNvSpPr>
          <p:nvPr userDrawn="1"/>
        </p:nvSpPr>
        <p:spPr bwMode="black">
          <a:xfrm>
            <a:off x="3295021" y="1347678"/>
            <a:ext cx="696913" cy="869951"/>
          </a:xfrm>
          <a:custGeom>
            <a:avLst/>
            <a:gdLst>
              <a:gd name="T0" fmla="*/ 4 w 485"/>
              <a:gd name="T1" fmla="*/ 578 h 606"/>
              <a:gd name="T2" fmla="*/ 12 w 485"/>
              <a:gd name="T3" fmla="*/ 440 h 606"/>
              <a:gd name="T4" fmla="*/ 7 w 485"/>
              <a:gd name="T5" fmla="*/ 393 h 606"/>
              <a:gd name="T6" fmla="*/ 7 w 485"/>
              <a:gd name="T7" fmla="*/ 357 h 606"/>
              <a:gd name="T8" fmla="*/ 11 w 485"/>
              <a:gd name="T9" fmla="*/ 294 h 606"/>
              <a:gd name="T10" fmla="*/ 7 w 485"/>
              <a:gd name="T11" fmla="*/ 226 h 606"/>
              <a:gd name="T12" fmla="*/ 3 w 485"/>
              <a:gd name="T13" fmla="*/ 115 h 606"/>
              <a:gd name="T14" fmla="*/ 0 w 485"/>
              <a:gd name="T15" fmla="*/ 22 h 606"/>
              <a:gd name="T16" fmla="*/ 28 w 485"/>
              <a:gd name="T17" fmla="*/ 24 h 606"/>
              <a:gd name="T18" fmla="*/ 123 w 485"/>
              <a:gd name="T19" fmla="*/ 23 h 606"/>
              <a:gd name="T20" fmla="*/ 129 w 485"/>
              <a:gd name="T21" fmla="*/ 9 h 606"/>
              <a:gd name="T22" fmla="*/ 141 w 485"/>
              <a:gd name="T23" fmla="*/ 6 h 606"/>
              <a:gd name="T24" fmla="*/ 151 w 485"/>
              <a:gd name="T25" fmla="*/ 32 h 606"/>
              <a:gd name="T26" fmla="*/ 183 w 485"/>
              <a:gd name="T27" fmla="*/ 71 h 606"/>
              <a:gd name="T28" fmla="*/ 205 w 485"/>
              <a:gd name="T29" fmla="*/ 80 h 606"/>
              <a:gd name="T30" fmla="*/ 249 w 485"/>
              <a:gd name="T31" fmla="*/ 86 h 606"/>
              <a:gd name="T32" fmla="*/ 300 w 485"/>
              <a:gd name="T33" fmla="*/ 100 h 606"/>
              <a:gd name="T34" fmla="*/ 321 w 485"/>
              <a:gd name="T35" fmla="*/ 114 h 606"/>
              <a:gd name="T36" fmla="*/ 345 w 485"/>
              <a:gd name="T37" fmla="*/ 126 h 606"/>
              <a:gd name="T38" fmla="*/ 389 w 485"/>
              <a:gd name="T39" fmla="*/ 137 h 606"/>
              <a:gd name="T40" fmla="*/ 478 w 485"/>
              <a:gd name="T41" fmla="*/ 148 h 606"/>
              <a:gd name="T42" fmla="*/ 475 w 485"/>
              <a:gd name="T43" fmla="*/ 160 h 606"/>
              <a:gd name="T44" fmla="*/ 456 w 485"/>
              <a:gd name="T45" fmla="*/ 170 h 606"/>
              <a:gd name="T46" fmla="*/ 405 w 485"/>
              <a:gd name="T47" fmla="*/ 199 h 606"/>
              <a:gd name="T48" fmla="*/ 385 w 485"/>
              <a:gd name="T49" fmla="*/ 220 h 606"/>
              <a:gd name="T50" fmla="*/ 373 w 485"/>
              <a:gd name="T51" fmla="*/ 230 h 606"/>
              <a:gd name="T52" fmla="*/ 368 w 485"/>
              <a:gd name="T53" fmla="*/ 234 h 606"/>
              <a:gd name="T54" fmla="*/ 356 w 485"/>
              <a:gd name="T55" fmla="*/ 243 h 606"/>
              <a:gd name="T56" fmla="*/ 332 w 485"/>
              <a:gd name="T57" fmla="*/ 266 h 606"/>
              <a:gd name="T58" fmla="*/ 306 w 485"/>
              <a:gd name="T59" fmla="*/ 312 h 606"/>
              <a:gd name="T60" fmla="*/ 303 w 485"/>
              <a:gd name="T61" fmla="*/ 340 h 606"/>
              <a:gd name="T62" fmla="*/ 301 w 485"/>
              <a:gd name="T63" fmla="*/ 350 h 606"/>
              <a:gd name="T64" fmla="*/ 287 w 485"/>
              <a:gd name="T65" fmla="*/ 359 h 606"/>
              <a:gd name="T66" fmla="*/ 264 w 485"/>
              <a:gd name="T67" fmla="*/ 396 h 606"/>
              <a:gd name="T68" fmla="*/ 264 w 485"/>
              <a:gd name="T69" fmla="*/ 468 h 606"/>
              <a:gd name="T70" fmla="*/ 270 w 485"/>
              <a:gd name="T71" fmla="*/ 486 h 606"/>
              <a:gd name="T72" fmla="*/ 359 w 485"/>
              <a:gd name="T73" fmla="*/ 565 h 606"/>
              <a:gd name="T74" fmla="*/ 377 w 485"/>
              <a:gd name="T75" fmla="*/ 601 h 606"/>
              <a:gd name="T76" fmla="*/ 190 w 485"/>
              <a:gd name="T77" fmla="*/ 605 h 606"/>
              <a:gd name="T78" fmla="*/ 3 w 485"/>
              <a:gd name="T79" fmla="*/ 604 h 606"/>
              <a:gd name="T80" fmla="*/ 4 w 485"/>
              <a:gd name="T81" fmla="*/ 578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606">
                <a:moveTo>
                  <a:pt x="4" y="578"/>
                </a:moveTo>
                <a:cubicBezTo>
                  <a:pt x="6" y="522"/>
                  <a:pt x="9" y="463"/>
                  <a:pt x="12" y="440"/>
                </a:cubicBezTo>
                <a:cubicBezTo>
                  <a:pt x="13" y="423"/>
                  <a:pt x="12" y="410"/>
                  <a:pt x="7" y="393"/>
                </a:cubicBezTo>
                <a:cubicBezTo>
                  <a:pt x="0" y="370"/>
                  <a:pt x="0" y="368"/>
                  <a:pt x="7" y="357"/>
                </a:cubicBezTo>
                <a:cubicBezTo>
                  <a:pt x="13" y="347"/>
                  <a:pt x="13" y="339"/>
                  <a:pt x="11" y="294"/>
                </a:cubicBezTo>
                <a:cubicBezTo>
                  <a:pt x="10" y="266"/>
                  <a:pt x="8" y="235"/>
                  <a:pt x="7" y="226"/>
                </a:cubicBezTo>
                <a:cubicBezTo>
                  <a:pt x="6" y="216"/>
                  <a:pt x="4" y="166"/>
                  <a:pt x="3" y="115"/>
                </a:cubicBezTo>
                <a:cubicBezTo>
                  <a:pt x="0" y="22"/>
                  <a:pt x="0" y="22"/>
                  <a:pt x="0" y="22"/>
                </a:cubicBezTo>
                <a:cubicBezTo>
                  <a:pt x="28" y="24"/>
                  <a:pt x="28" y="24"/>
                  <a:pt x="28" y="24"/>
                </a:cubicBezTo>
                <a:cubicBezTo>
                  <a:pt x="115" y="29"/>
                  <a:pt x="117" y="29"/>
                  <a:pt x="123" y="23"/>
                </a:cubicBezTo>
                <a:cubicBezTo>
                  <a:pt x="127" y="20"/>
                  <a:pt x="129" y="14"/>
                  <a:pt x="129" y="9"/>
                </a:cubicBezTo>
                <a:cubicBezTo>
                  <a:pt x="129" y="0"/>
                  <a:pt x="131" y="0"/>
                  <a:pt x="141" y="6"/>
                </a:cubicBezTo>
                <a:cubicBezTo>
                  <a:pt x="146" y="8"/>
                  <a:pt x="149" y="16"/>
                  <a:pt x="151" y="32"/>
                </a:cubicBezTo>
                <a:cubicBezTo>
                  <a:pt x="155" y="59"/>
                  <a:pt x="161" y="67"/>
                  <a:pt x="183" y="71"/>
                </a:cubicBezTo>
                <a:cubicBezTo>
                  <a:pt x="192" y="73"/>
                  <a:pt x="202" y="77"/>
                  <a:pt x="205" y="80"/>
                </a:cubicBezTo>
                <a:cubicBezTo>
                  <a:pt x="210" y="84"/>
                  <a:pt x="224" y="86"/>
                  <a:pt x="249" y="86"/>
                </a:cubicBezTo>
                <a:cubicBezTo>
                  <a:pt x="285" y="87"/>
                  <a:pt x="286" y="87"/>
                  <a:pt x="300" y="100"/>
                </a:cubicBezTo>
                <a:cubicBezTo>
                  <a:pt x="309" y="107"/>
                  <a:pt x="318" y="113"/>
                  <a:pt x="321" y="114"/>
                </a:cubicBezTo>
                <a:cubicBezTo>
                  <a:pt x="324" y="114"/>
                  <a:pt x="335" y="119"/>
                  <a:pt x="345" y="126"/>
                </a:cubicBezTo>
                <a:cubicBezTo>
                  <a:pt x="361" y="137"/>
                  <a:pt x="366" y="138"/>
                  <a:pt x="389" y="137"/>
                </a:cubicBezTo>
                <a:cubicBezTo>
                  <a:pt x="416" y="137"/>
                  <a:pt x="465" y="142"/>
                  <a:pt x="478" y="148"/>
                </a:cubicBezTo>
                <a:cubicBezTo>
                  <a:pt x="485" y="150"/>
                  <a:pt x="484" y="151"/>
                  <a:pt x="475" y="160"/>
                </a:cubicBezTo>
                <a:cubicBezTo>
                  <a:pt x="469" y="165"/>
                  <a:pt x="461" y="170"/>
                  <a:pt x="456" y="170"/>
                </a:cubicBezTo>
                <a:cubicBezTo>
                  <a:pt x="439" y="170"/>
                  <a:pt x="415" y="184"/>
                  <a:pt x="405" y="199"/>
                </a:cubicBezTo>
                <a:cubicBezTo>
                  <a:pt x="401" y="207"/>
                  <a:pt x="391" y="217"/>
                  <a:pt x="385" y="220"/>
                </a:cubicBezTo>
                <a:cubicBezTo>
                  <a:pt x="378" y="224"/>
                  <a:pt x="373" y="229"/>
                  <a:pt x="373" y="230"/>
                </a:cubicBezTo>
                <a:cubicBezTo>
                  <a:pt x="373" y="232"/>
                  <a:pt x="371" y="234"/>
                  <a:pt x="368" y="234"/>
                </a:cubicBezTo>
                <a:cubicBezTo>
                  <a:pt x="365" y="234"/>
                  <a:pt x="359" y="238"/>
                  <a:pt x="356" y="243"/>
                </a:cubicBezTo>
                <a:cubicBezTo>
                  <a:pt x="353" y="248"/>
                  <a:pt x="342" y="258"/>
                  <a:pt x="332" y="266"/>
                </a:cubicBezTo>
                <a:cubicBezTo>
                  <a:pt x="311" y="282"/>
                  <a:pt x="309" y="284"/>
                  <a:pt x="306" y="312"/>
                </a:cubicBezTo>
                <a:cubicBezTo>
                  <a:pt x="305" y="323"/>
                  <a:pt x="304" y="335"/>
                  <a:pt x="303" y="340"/>
                </a:cubicBezTo>
                <a:cubicBezTo>
                  <a:pt x="302" y="344"/>
                  <a:pt x="302" y="348"/>
                  <a:pt x="301" y="350"/>
                </a:cubicBezTo>
                <a:cubicBezTo>
                  <a:pt x="301" y="351"/>
                  <a:pt x="295" y="355"/>
                  <a:pt x="287" y="359"/>
                </a:cubicBezTo>
                <a:cubicBezTo>
                  <a:pt x="271" y="368"/>
                  <a:pt x="261" y="384"/>
                  <a:pt x="264" y="396"/>
                </a:cubicBezTo>
                <a:cubicBezTo>
                  <a:pt x="268" y="408"/>
                  <a:pt x="267" y="458"/>
                  <a:pt x="264" y="468"/>
                </a:cubicBezTo>
                <a:cubicBezTo>
                  <a:pt x="261" y="475"/>
                  <a:pt x="263" y="480"/>
                  <a:pt x="270" y="486"/>
                </a:cubicBezTo>
                <a:cubicBezTo>
                  <a:pt x="294" y="510"/>
                  <a:pt x="351" y="560"/>
                  <a:pt x="359" y="565"/>
                </a:cubicBezTo>
                <a:cubicBezTo>
                  <a:pt x="367" y="570"/>
                  <a:pt x="377" y="590"/>
                  <a:pt x="377" y="601"/>
                </a:cubicBezTo>
                <a:cubicBezTo>
                  <a:pt x="377" y="605"/>
                  <a:pt x="339" y="606"/>
                  <a:pt x="190" y="605"/>
                </a:cubicBezTo>
                <a:cubicBezTo>
                  <a:pt x="3" y="604"/>
                  <a:pt x="3" y="604"/>
                  <a:pt x="3" y="604"/>
                </a:cubicBezTo>
                <a:lnTo>
                  <a:pt x="4" y="578"/>
                </a:ln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436" name="Freeform 101"/>
          <p:cNvSpPr>
            <a:spLocks/>
          </p:cNvSpPr>
          <p:nvPr userDrawn="1"/>
        </p:nvSpPr>
        <p:spPr bwMode="black">
          <a:xfrm>
            <a:off x="3371218" y="2679592"/>
            <a:ext cx="704851" cy="701675"/>
          </a:xfrm>
          <a:custGeom>
            <a:avLst/>
            <a:gdLst>
              <a:gd name="T0" fmla="*/ 432 w 490"/>
              <a:gd name="T1" fmla="*/ 482 h 489"/>
              <a:gd name="T2" fmla="*/ 421 w 490"/>
              <a:gd name="T3" fmla="*/ 476 h 489"/>
              <a:gd name="T4" fmla="*/ 424 w 490"/>
              <a:gd name="T5" fmla="*/ 457 h 489"/>
              <a:gd name="T6" fmla="*/ 234 w 490"/>
              <a:gd name="T7" fmla="*/ 426 h 489"/>
              <a:gd name="T8" fmla="*/ 54 w 490"/>
              <a:gd name="T9" fmla="*/ 425 h 489"/>
              <a:gd name="T10" fmla="*/ 54 w 490"/>
              <a:gd name="T11" fmla="*/ 415 h 489"/>
              <a:gd name="T12" fmla="*/ 59 w 490"/>
              <a:gd name="T13" fmla="*/ 307 h 489"/>
              <a:gd name="T14" fmla="*/ 58 w 490"/>
              <a:gd name="T15" fmla="*/ 177 h 489"/>
              <a:gd name="T16" fmla="*/ 56 w 490"/>
              <a:gd name="T17" fmla="*/ 148 h 489"/>
              <a:gd name="T18" fmla="*/ 42 w 490"/>
              <a:gd name="T19" fmla="*/ 124 h 489"/>
              <a:gd name="T20" fmla="*/ 33 w 490"/>
              <a:gd name="T21" fmla="*/ 101 h 489"/>
              <a:gd name="T22" fmla="*/ 28 w 490"/>
              <a:gd name="T23" fmla="*/ 59 h 489"/>
              <a:gd name="T24" fmla="*/ 9 w 490"/>
              <a:gd name="T25" fmla="*/ 29 h 489"/>
              <a:gd name="T26" fmla="*/ 2 w 490"/>
              <a:gd name="T27" fmla="*/ 6 h 489"/>
              <a:gd name="T28" fmla="*/ 25 w 490"/>
              <a:gd name="T29" fmla="*/ 1 h 489"/>
              <a:gd name="T30" fmla="*/ 168 w 490"/>
              <a:gd name="T31" fmla="*/ 5 h 489"/>
              <a:gd name="T32" fmla="*/ 293 w 490"/>
              <a:gd name="T33" fmla="*/ 11 h 489"/>
              <a:gd name="T34" fmla="*/ 299 w 490"/>
              <a:gd name="T35" fmla="*/ 22 h 489"/>
              <a:gd name="T36" fmla="*/ 306 w 490"/>
              <a:gd name="T37" fmla="*/ 79 h 489"/>
              <a:gd name="T38" fmla="*/ 332 w 490"/>
              <a:gd name="T39" fmla="*/ 113 h 489"/>
              <a:gd name="T40" fmla="*/ 360 w 490"/>
              <a:gd name="T41" fmla="*/ 151 h 489"/>
              <a:gd name="T42" fmla="*/ 379 w 490"/>
              <a:gd name="T43" fmla="*/ 177 h 489"/>
              <a:gd name="T44" fmla="*/ 403 w 490"/>
              <a:gd name="T45" fmla="*/ 232 h 489"/>
              <a:gd name="T46" fmla="*/ 400 w 490"/>
              <a:gd name="T47" fmla="*/ 266 h 489"/>
              <a:gd name="T48" fmla="*/ 433 w 490"/>
              <a:gd name="T49" fmla="*/ 292 h 489"/>
              <a:gd name="T50" fmla="*/ 468 w 490"/>
              <a:gd name="T51" fmla="*/ 322 h 489"/>
              <a:gd name="T52" fmla="*/ 474 w 490"/>
              <a:gd name="T53" fmla="*/ 352 h 489"/>
              <a:gd name="T54" fmla="*/ 485 w 490"/>
              <a:gd name="T55" fmla="*/ 383 h 489"/>
              <a:gd name="T56" fmla="*/ 489 w 490"/>
              <a:gd name="T57" fmla="*/ 400 h 489"/>
              <a:gd name="T58" fmla="*/ 475 w 490"/>
              <a:gd name="T59" fmla="*/ 428 h 489"/>
              <a:gd name="T60" fmla="*/ 458 w 490"/>
              <a:gd name="T61" fmla="*/ 462 h 489"/>
              <a:gd name="T62" fmla="*/ 432 w 490"/>
              <a:gd name="T63" fmla="*/ 482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90" h="489">
                <a:moveTo>
                  <a:pt x="432" y="482"/>
                </a:moveTo>
                <a:cubicBezTo>
                  <a:pt x="427" y="479"/>
                  <a:pt x="422" y="477"/>
                  <a:pt x="421" y="476"/>
                </a:cubicBezTo>
                <a:cubicBezTo>
                  <a:pt x="421" y="476"/>
                  <a:pt x="422" y="468"/>
                  <a:pt x="424" y="457"/>
                </a:cubicBezTo>
                <a:cubicBezTo>
                  <a:pt x="430" y="425"/>
                  <a:pt x="439" y="427"/>
                  <a:pt x="234" y="426"/>
                </a:cubicBezTo>
                <a:cubicBezTo>
                  <a:pt x="54" y="425"/>
                  <a:pt x="54" y="425"/>
                  <a:pt x="54" y="425"/>
                </a:cubicBezTo>
                <a:cubicBezTo>
                  <a:pt x="54" y="415"/>
                  <a:pt x="54" y="415"/>
                  <a:pt x="54" y="415"/>
                </a:cubicBezTo>
                <a:cubicBezTo>
                  <a:pt x="51" y="367"/>
                  <a:pt x="52" y="334"/>
                  <a:pt x="59" y="307"/>
                </a:cubicBezTo>
                <a:cubicBezTo>
                  <a:pt x="61" y="296"/>
                  <a:pt x="61" y="212"/>
                  <a:pt x="58" y="177"/>
                </a:cubicBezTo>
                <a:cubicBezTo>
                  <a:pt x="57" y="166"/>
                  <a:pt x="57" y="153"/>
                  <a:pt x="56" y="148"/>
                </a:cubicBezTo>
                <a:cubicBezTo>
                  <a:pt x="56" y="143"/>
                  <a:pt x="50" y="132"/>
                  <a:pt x="42" y="124"/>
                </a:cubicBezTo>
                <a:cubicBezTo>
                  <a:pt x="28" y="111"/>
                  <a:pt x="28" y="110"/>
                  <a:pt x="33" y="101"/>
                </a:cubicBezTo>
                <a:cubicBezTo>
                  <a:pt x="45" y="84"/>
                  <a:pt x="43" y="73"/>
                  <a:pt x="28" y="59"/>
                </a:cubicBezTo>
                <a:cubicBezTo>
                  <a:pt x="18" y="51"/>
                  <a:pt x="12" y="41"/>
                  <a:pt x="9" y="29"/>
                </a:cubicBezTo>
                <a:cubicBezTo>
                  <a:pt x="6" y="19"/>
                  <a:pt x="3" y="9"/>
                  <a:pt x="2" y="6"/>
                </a:cubicBezTo>
                <a:cubicBezTo>
                  <a:pt x="0" y="0"/>
                  <a:pt x="4" y="0"/>
                  <a:pt x="25" y="1"/>
                </a:cubicBezTo>
                <a:cubicBezTo>
                  <a:pt x="39" y="1"/>
                  <a:pt x="103" y="3"/>
                  <a:pt x="168" y="5"/>
                </a:cubicBezTo>
                <a:cubicBezTo>
                  <a:pt x="233" y="6"/>
                  <a:pt x="289" y="9"/>
                  <a:pt x="293" y="11"/>
                </a:cubicBezTo>
                <a:cubicBezTo>
                  <a:pt x="297" y="13"/>
                  <a:pt x="299" y="18"/>
                  <a:pt x="299" y="22"/>
                </a:cubicBezTo>
                <a:cubicBezTo>
                  <a:pt x="299" y="29"/>
                  <a:pt x="303" y="63"/>
                  <a:pt x="306" y="79"/>
                </a:cubicBezTo>
                <a:cubicBezTo>
                  <a:pt x="308" y="84"/>
                  <a:pt x="319" y="99"/>
                  <a:pt x="332" y="113"/>
                </a:cubicBezTo>
                <a:cubicBezTo>
                  <a:pt x="348" y="128"/>
                  <a:pt x="358" y="142"/>
                  <a:pt x="360" y="151"/>
                </a:cubicBezTo>
                <a:cubicBezTo>
                  <a:pt x="363" y="161"/>
                  <a:pt x="370" y="171"/>
                  <a:pt x="379" y="177"/>
                </a:cubicBezTo>
                <a:cubicBezTo>
                  <a:pt x="412" y="203"/>
                  <a:pt x="409" y="197"/>
                  <a:pt x="403" y="232"/>
                </a:cubicBezTo>
                <a:cubicBezTo>
                  <a:pt x="400" y="249"/>
                  <a:pt x="399" y="264"/>
                  <a:pt x="400" y="266"/>
                </a:cubicBezTo>
                <a:cubicBezTo>
                  <a:pt x="401" y="268"/>
                  <a:pt x="416" y="279"/>
                  <a:pt x="433" y="292"/>
                </a:cubicBezTo>
                <a:cubicBezTo>
                  <a:pt x="450" y="305"/>
                  <a:pt x="466" y="318"/>
                  <a:pt x="468" y="322"/>
                </a:cubicBezTo>
                <a:cubicBezTo>
                  <a:pt x="470" y="326"/>
                  <a:pt x="472" y="339"/>
                  <a:pt x="474" y="352"/>
                </a:cubicBezTo>
                <a:cubicBezTo>
                  <a:pt x="477" y="379"/>
                  <a:pt x="478" y="383"/>
                  <a:pt x="485" y="383"/>
                </a:cubicBezTo>
                <a:cubicBezTo>
                  <a:pt x="489" y="383"/>
                  <a:pt x="490" y="388"/>
                  <a:pt x="489" y="400"/>
                </a:cubicBezTo>
                <a:cubicBezTo>
                  <a:pt x="488" y="413"/>
                  <a:pt x="484" y="419"/>
                  <a:pt x="475" y="428"/>
                </a:cubicBezTo>
                <a:cubicBezTo>
                  <a:pt x="465" y="437"/>
                  <a:pt x="461" y="444"/>
                  <a:pt x="458" y="462"/>
                </a:cubicBezTo>
                <a:cubicBezTo>
                  <a:pt x="454" y="486"/>
                  <a:pt x="449" y="489"/>
                  <a:pt x="432" y="482"/>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437" name="Freeform 102"/>
          <p:cNvSpPr>
            <a:spLocks/>
          </p:cNvSpPr>
          <p:nvPr userDrawn="1"/>
        </p:nvSpPr>
        <p:spPr bwMode="black">
          <a:xfrm>
            <a:off x="3795082" y="3538428"/>
            <a:ext cx="427039" cy="750888"/>
          </a:xfrm>
          <a:custGeom>
            <a:avLst/>
            <a:gdLst>
              <a:gd name="T0" fmla="*/ 184 w 297"/>
              <a:gd name="T1" fmla="*/ 511 h 523"/>
              <a:gd name="T2" fmla="*/ 167 w 297"/>
              <a:gd name="T3" fmla="*/ 467 h 523"/>
              <a:gd name="T4" fmla="*/ 164 w 297"/>
              <a:gd name="T5" fmla="*/ 434 h 523"/>
              <a:gd name="T6" fmla="*/ 108 w 297"/>
              <a:gd name="T7" fmla="*/ 429 h 523"/>
              <a:gd name="T8" fmla="*/ 39 w 297"/>
              <a:gd name="T9" fmla="*/ 426 h 523"/>
              <a:gd name="T10" fmla="*/ 14 w 297"/>
              <a:gd name="T11" fmla="*/ 425 h 523"/>
              <a:gd name="T12" fmla="*/ 24 w 297"/>
              <a:gd name="T13" fmla="*/ 368 h 523"/>
              <a:gd name="T14" fmla="*/ 52 w 297"/>
              <a:gd name="T15" fmla="*/ 308 h 523"/>
              <a:gd name="T16" fmla="*/ 55 w 297"/>
              <a:gd name="T17" fmla="*/ 269 h 523"/>
              <a:gd name="T18" fmla="*/ 47 w 297"/>
              <a:gd name="T19" fmla="*/ 204 h 523"/>
              <a:gd name="T20" fmla="*/ 72 w 297"/>
              <a:gd name="T21" fmla="*/ 92 h 523"/>
              <a:gd name="T22" fmla="*/ 91 w 297"/>
              <a:gd name="T23" fmla="*/ 54 h 523"/>
              <a:gd name="T24" fmla="*/ 112 w 297"/>
              <a:gd name="T25" fmla="*/ 15 h 523"/>
              <a:gd name="T26" fmla="*/ 124 w 297"/>
              <a:gd name="T27" fmla="*/ 4 h 523"/>
              <a:gd name="T28" fmla="*/ 210 w 297"/>
              <a:gd name="T29" fmla="*/ 2 h 523"/>
              <a:gd name="T30" fmla="*/ 297 w 297"/>
              <a:gd name="T31" fmla="*/ 0 h 523"/>
              <a:gd name="T32" fmla="*/ 297 w 297"/>
              <a:gd name="T33" fmla="*/ 11 h 523"/>
              <a:gd name="T34" fmla="*/ 293 w 297"/>
              <a:gd name="T35" fmla="*/ 57 h 523"/>
              <a:gd name="T36" fmla="*/ 287 w 297"/>
              <a:gd name="T37" fmla="*/ 121 h 523"/>
              <a:gd name="T38" fmla="*/ 283 w 297"/>
              <a:gd name="T39" fmla="*/ 161 h 523"/>
              <a:gd name="T40" fmla="*/ 277 w 297"/>
              <a:gd name="T41" fmla="*/ 396 h 523"/>
              <a:gd name="T42" fmla="*/ 277 w 297"/>
              <a:gd name="T43" fmla="*/ 505 h 523"/>
              <a:gd name="T44" fmla="*/ 268 w 297"/>
              <a:gd name="T45" fmla="*/ 505 h 523"/>
              <a:gd name="T46" fmla="*/ 205 w 297"/>
              <a:gd name="T47" fmla="*/ 516 h 523"/>
              <a:gd name="T48" fmla="*/ 184 w 297"/>
              <a:gd name="T49" fmla="*/ 511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97" h="523">
                <a:moveTo>
                  <a:pt x="184" y="511"/>
                </a:moveTo>
                <a:cubicBezTo>
                  <a:pt x="169" y="498"/>
                  <a:pt x="169" y="497"/>
                  <a:pt x="167" y="467"/>
                </a:cubicBezTo>
                <a:cubicBezTo>
                  <a:pt x="166" y="451"/>
                  <a:pt x="165" y="435"/>
                  <a:pt x="164" y="434"/>
                </a:cubicBezTo>
                <a:cubicBezTo>
                  <a:pt x="163" y="432"/>
                  <a:pt x="138" y="430"/>
                  <a:pt x="108" y="429"/>
                </a:cubicBezTo>
                <a:cubicBezTo>
                  <a:pt x="79" y="428"/>
                  <a:pt x="48" y="427"/>
                  <a:pt x="39" y="426"/>
                </a:cubicBezTo>
                <a:cubicBezTo>
                  <a:pt x="30" y="426"/>
                  <a:pt x="19" y="425"/>
                  <a:pt x="14" y="425"/>
                </a:cubicBezTo>
                <a:cubicBezTo>
                  <a:pt x="0" y="424"/>
                  <a:pt x="3" y="405"/>
                  <a:pt x="24" y="368"/>
                </a:cubicBezTo>
                <a:cubicBezTo>
                  <a:pt x="34" y="349"/>
                  <a:pt x="46" y="322"/>
                  <a:pt x="52" y="308"/>
                </a:cubicBezTo>
                <a:cubicBezTo>
                  <a:pt x="61" y="282"/>
                  <a:pt x="61" y="280"/>
                  <a:pt x="55" y="269"/>
                </a:cubicBezTo>
                <a:cubicBezTo>
                  <a:pt x="51" y="260"/>
                  <a:pt x="48" y="240"/>
                  <a:pt x="47" y="204"/>
                </a:cubicBezTo>
                <a:cubicBezTo>
                  <a:pt x="44" y="141"/>
                  <a:pt x="48" y="124"/>
                  <a:pt x="72" y="92"/>
                </a:cubicBezTo>
                <a:cubicBezTo>
                  <a:pt x="82" y="79"/>
                  <a:pt x="90" y="64"/>
                  <a:pt x="91" y="54"/>
                </a:cubicBezTo>
                <a:cubicBezTo>
                  <a:pt x="95" y="35"/>
                  <a:pt x="97" y="29"/>
                  <a:pt x="112" y="15"/>
                </a:cubicBezTo>
                <a:cubicBezTo>
                  <a:pt x="124" y="4"/>
                  <a:pt x="124" y="4"/>
                  <a:pt x="124" y="4"/>
                </a:cubicBezTo>
                <a:cubicBezTo>
                  <a:pt x="210" y="2"/>
                  <a:pt x="210" y="2"/>
                  <a:pt x="210" y="2"/>
                </a:cubicBezTo>
                <a:cubicBezTo>
                  <a:pt x="297" y="0"/>
                  <a:pt x="297" y="0"/>
                  <a:pt x="297" y="0"/>
                </a:cubicBezTo>
                <a:cubicBezTo>
                  <a:pt x="297" y="11"/>
                  <a:pt x="297" y="11"/>
                  <a:pt x="297" y="11"/>
                </a:cubicBezTo>
                <a:cubicBezTo>
                  <a:pt x="297" y="17"/>
                  <a:pt x="295" y="38"/>
                  <a:pt x="293" y="57"/>
                </a:cubicBezTo>
                <a:cubicBezTo>
                  <a:pt x="291" y="75"/>
                  <a:pt x="289" y="104"/>
                  <a:pt x="287" y="121"/>
                </a:cubicBezTo>
                <a:cubicBezTo>
                  <a:pt x="286" y="137"/>
                  <a:pt x="284" y="155"/>
                  <a:pt x="283" y="161"/>
                </a:cubicBezTo>
                <a:cubicBezTo>
                  <a:pt x="279" y="190"/>
                  <a:pt x="276" y="299"/>
                  <a:pt x="277" y="396"/>
                </a:cubicBezTo>
                <a:cubicBezTo>
                  <a:pt x="277" y="505"/>
                  <a:pt x="277" y="505"/>
                  <a:pt x="277" y="505"/>
                </a:cubicBezTo>
                <a:cubicBezTo>
                  <a:pt x="268" y="505"/>
                  <a:pt x="268" y="505"/>
                  <a:pt x="268" y="505"/>
                </a:cubicBezTo>
                <a:cubicBezTo>
                  <a:pt x="234" y="506"/>
                  <a:pt x="211" y="510"/>
                  <a:pt x="205" y="516"/>
                </a:cubicBezTo>
                <a:cubicBezTo>
                  <a:pt x="199" y="523"/>
                  <a:pt x="198" y="523"/>
                  <a:pt x="184" y="511"/>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438" name="Freeform 103"/>
          <p:cNvSpPr>
            <a:spLocks/>
          </p:cNvSpPr>
          <p:nvPr userDrawn="1"/>
        </p:nvSpPr>
        <p:spPr bwMode="black">
          <a:xfrm>
            <a:off x="1432880" y="1023827"/>
            <a:ext cx="1177925" cy="858839"/>
          </a:xfrm>
          <a:custGeom>
            <a:avLst/>
            <a:gdLst>
              <a:gd name="T0" fmla="*/ 740 w 820"/>
              <a:gd name="T1" fmla="*/ 593 h 598"/>
              <a:gd name="T2" fmla="*/ 726 w 820"/>
              <a:gd name="T3" fmla="*/ 589 h 598"/>
              <a:gd name="T4" fmla="*/ 520 w 820"/>
              <a:gd name="T5" fmla="*/ 546 h 598"/>
              <a:gd name="T6" fmla="*/ 368 w 820"/>
              <a:gd name="T7" fmla="*/ 515 h 598"/>
              <a:gd name="T8" fmla="*/ 276 w 820"/>
              <a:gd name="T9" fmla="*/ 495 h 598"/>
              <a:gd name="T10" fmla="*/ 240 w 820"/>
              <a:gd name="T11" fmla="*/ 510 h 598"/>
              <a:gd name="T12" fmla="*/ 214 w 820"/>
              <a:gd name="T13" fmla="*/ 528 h 598"/>
              <a:gd name="T14" fmla="*/ 182 w 820"/>
              <a:gd name="T15" fmla="*/ 523 h 598"/>
              <a:gd name="T16" fmla="*/ 138 w 820"/>
              <a:gd name="T17" fmla="*/ 518 h 598"/>
              <a:gd name="T18" fmla="*/ 88 w 820"/>
              <a:gd name="T19" fmla="*/ 455 h 598"/>
              <a:gd name="T20" fmla="*/ 67 w 820"/>
              <a:gd name="T21" fmla="*/ 374 h 598"/>
              <a:gd name="T22" fmla="*/ 43 w 820"/>
              <a:gd name="T23" fmla="*/ 375 h 598"/>
              <a:gd name="T24" fmla="*/ 26 w 820"/>
              <a:gd name="T25" fmla="*/ 364 h 598"/>
              <a:gd name="T26" fmla="*/ 45 w 820"/>
              <a:gd name="T27" fmla="*/ 343 h 598"/>
              <a:gd name="T28" fmla="*/ 48 w 820"/>
              <a:gd name="T29" fmla="*/ 328 h 598"/>
              <a:gd name="T30" fmla="*/ 56 w 820"/>
              <a:gd name="T31" fmla="*/ 303 h 598"/>
              <a:gd name="T32" fmla="*/ 55 w 820"/>
              <a:gd name="T33" fmla="*/ 253 h 598"/>
              <a:gd name="T34" fmla="*/ 38 w 820"/>
              <a:gd name="T35" fmla="*/ 219 h 598"/>
              <a:gd name="T36" fmla="*/ 19 w 820"/>
              <a:gd name="T37" fmla="*/ 178 h 598"/>
              <a:gd name="T38" fmla="*/ 14 w 820"/>
              <a:gd name="T39" fmla="*/ 47 h 598"/>
              <a:gd name="T40" fmla="*/ 25 w 820"/>
              <a:gd name="T41" fmla="*/ 0 h 598"/>
              <a:gd name="T42" fmla="*/ 74 w 820"/>
              <a:gd name="T43" fmla="*/ 15 h 598"/>
              <a:gd name="T44" fmla="*/ 334 w 820"/>
              <a:gd name="T45" fmla="*/ 88 h 598"/>
              <a:gd name="T46" fmla="*/ 392 w 820"/>
              <a:gd name="T47" fmla="*/ 103 h 598"/>
              <a:gd name="T48" fmla="*/ 743 w 820"/>
              <a:gd name="T49" fmla="*/ 183 h 598"/>
              <a:gd name="T50" fmla="*/ 763 w 820"/>
              <a:gd name="T51" fmla="*/ 188 h 598"/>
              <a:gd name="T52" fmla="*/ 792 w 820"/>
              <a:gd name="T53" fmla="*/ 192 h 598"/>
              <a:gd name="T54" fmla="*/ 819 w 820"/>
              <a:gd name="T55" fmla="*/ 196 h 598"/>
              <a:gd name="T56" fmla="*/ 816 w 820"/>
              <a:gd name="T57" fmla="*/ 219 h 598"/>
              <a:gd name="T58" fmla="*/ 806 w 820"/>
              <a:gd name="T59" fmla="*/ 280 h 598"/>
              <a:gd name="T60" fmla="*/ 802 w 820"/>
              <a:gd name="T61" fmla="*/ 304 h 598"/>
              <a:gd name="T62" fmla="*/ 794 w 820"/>
              <a:gd name="T63" fmla="*/ 349 h 598"/>
              <a:gd name="T64" fmla="*/ 754 w 820"/>
              <a:gd name="T65" fmla="*/ 584 h 598"/>
              <a:gd name="T66" fmla="*/ 740 w 820"/>
              <a:gd name="T67" fmla="*/ 593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20" h="598">
                <a:moveTo>
                  <a:pt x="740" y="593"/>
                </a:moveTo>
                <a:cubicBezTo>
                  <a:pt x="739" y="592"/>
                  <a:pt x="733" y="590"/>
                  <a:pt x="726" y="589"/>
                </a:cubicBezTo>
                <a:cubicBezTo>
                  <a:pt x="713" y="587"/>
                  <a:pt x="647" y="573"/>
                  <a:pt x="520" y="546"/>
                </a:cubicBezTo>
                <a:cubicBezTo>
                  <a:pt x="477" y="537"/>
                  <a:pt x="409" y="523"/>
                  <a:pt x="368" y="515"/>
                </a:cubicBezTo>
                <a:cubicBezTo>
                  <a:pt x="327" y="506"/>
                  <a:pt x="286" y="497"/>
                  <a:pt x="276" y="495"/>
                </a:cubicBezTo>
                <a:cubicBezTo>
                  <a:pt x="250" y="489"/>
                  <a:pt x="249" y="489"/>
                  <a:pt x="240" y="510"/>
                </a:cubicBezTo>
                <a:cubicBezTo>
                  <a:pt x="232" y="528"/>
                  <a:pt x="232" y="529"/>
                  <a:pt x="214" y="528"/>
                </a:cubicBezTo>
                <a:cubicBezTo>
                  <a:pt x="205" y="528"/>
                  <a:pt x="190" y="525"/>
                  <a:pt x="182" y="523"/>
                </a:cubicBezTo>
                <a:cubicBezTo>
                  <a:pt x="175" y="520"/>
                  <a:pt x="155" y="518"/>
                  <a:pt x="138" y="518"/>
                </a:cubicBezTo>
                <a:cubicBezTo>
                  <a:pt x="100" y="517"/>
                  <a:pt x="100" y="517"/>
                  <a:pt x="88" y="455"/>
                </a:cubicBezTo>
                <a:cubicBezTo>
                  <a:pt x="77" y="394"/>
                  <a:pt x="72" y="375"/>
                  <a:pt x="67" y="374"/>
                </a:cubicBezTo>
                <a:cubicBezTo>
                  <a:pt x="64" y="374"/>
                  <a:pt x="53" y="374"/>
                  <a:pt x="43" y="375"/>
                </a:cubicBezTo>
                <a:cubicBezTo>
                  <a:pt x="23" y="375"/>
                  <a:pt x="23" y="375"/>
                  <a:pt x="26" y="364"/>
                </a:cubicBezTo>
                <a:cubicBezTo>
                  <a:pt x="28" y="354"/>
                  <a:pt x="38" y="343"/>
                  <a:pt x="45" y="343"/>
                </a:cubicBezTo>
                <a:cubicBezTo>
                  <a:pt x="47" y="343"/>
                  <a:pt x="48" y="336"/>
                  <a:pt x="48" y="328"/>
                </a:cubicBezTo>
                <a:cubicBezTo>
                  <a:pt x="48" y="320"/>
                  <a:pt x="52" y="309"/>
                  <a:pt x="56" y="303"/>
                </a:cubicBezTo>
                <a:cubicBezTo>
                  <a:pt x="68" y="286"/>
                  <a:pt x="68" y="267"/>
                  <a:pt x="55" y="253"/>
                </a:cubicBezTo>
                <a:cubicBezTo>
                  <a:pt x="49" y="246"/>
                  <a:pt x="41" y="231"/>
                  <a:pt x="38" y="219"/>
                </a:cubicBezTo>
                <a:cubicBezTo>
                  <a:pt x="34" y="207"/>
                  <a:pt x="26" y="188"/>
                  <a:pt x="19" y="178"/>
                </a:cubicBezTo>
                <a:cubicBezTo>
                  <a:pt x="2" y="149"/>
                  <a:pt x="0" y="108"/>
                  <a:pt x="14" y="47"/>
                </a:cubicBezTo>
                <a:cubicBezTo>
                  <a:pt x="25" y="0"/>
                  <a:pt x="25" y="0"/>
                  <a:pt x="25" y="0"/>
                </a:cubicBezTo>
                <a:cubicBezTo>
                  <a:pt x="74" y="15"/>
                  <a:pt x="74" y="15"/>
                  <a:pt x="74" y="15"/>
                </a:cubicBezTo>
                <a:cubicBezTo>
                  <a:pt x="119" y="30"/>
                  <a:pt x="307" y="82"/>
                  <a:pt x="334" y="88"/>
                </a:cubicBezTo>
                <a:cubicBezTo>
                  <a:pt x="341" y="89"/>
                  <a:pt x="367" y="96"/>
                  <a:pt x="392" y="103"/>
                </a:cubicBezTo>
                <a:cubicBezTo>
                  <a:pt x="432" y="113"/>
                  <a:pt x="692" y="173"/>
                  <a:pt x="743" y="183"/>
                </a:cubicBezTo>
                <a:cubicBezTo>
                  <a:pt x="753" y="185"/>
                  <a:pt x="762" y="187"/>
                  <a:pt x="763" y="188"/>
                </a:cubicBezTo>
                <a:cubicBezTo>
                  <a:pt x="765" y="189"/>
                  <a:pt x="778" y="191"/>
                  <a:pt x="792" y="192"/>
                </a:cubicBezTo>
                <a:cubicBezTo>
                  <a:pt x="806" y="194"/>
                  <a:pt x="818" y="195"/>
                  <a:pt x="819" y="196"/>
                </a:cubicBezTo>
                <a:cubicBezTo>
                  <a:pt x="820" y="197"/>
                  <a:pt x="818" y="207"/>
                  <a:pt x="816" y="219"/>
                </a:cubicBezTo>
                <a:cubicBezTo>
                  <a:pt x="812" y="242"/>
                  <a:pt x="810" y="255"/>
                  <a:pt x="806" y="280"/>
                </a:cubicBezTo>
                <a:cubicBezTo>
                  <a:pt x="805" y="289"/>
                  <a:pt x="803" y="299"/>
                  <a:pt x="802" y="304"/>
                </a:cubicBezTo>
                <a:cubicBezTo>
                  <a:pt x="800" y="312"/>
                  <a:pt x="799" y="321"/>
                  <a:pt x="794" y="349"/>
                </a:cubicBezTo>
                <a:cubicBezTo>
                  <a:pt x="787" y="392"/>
                  <a:pt x="756" y="575"/>
                  <a:pt x="754" y="584"/>
                </a:cubicBezTo>
                <a:cubicBezTo>
                  <a:pt x="752" y="593"/>
                  <a:pt x="745" y="598"/>
                  <a:pt x="740" y="593"/>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439" name="Freeform 104"/>
          <p:cNvSpPr>
            <a:spLocks/>
          </p:cNvSpPr>
          <p:nvPr userDrawn="1"/>
        </p:nvSpPr>
        <p:spPr bwMode="black">
          <a:xfrm>
            <a:off x="4680909" y="3154254"/>
            <a:ext cx="1069975" cy="454025"/>
          </a:xfrm>
          <a:custGeom>
            <a:avLst/>
            <a:gdLst>
              <a:gd name="T0" fmla="*/ 529 w 744"/>
              <a:gd name="T1" fmla="*/ 305 h 316"/>
              <a:gd name="T2" fmla="*/ 503 w 744"/>
              <a:gd name="T3" fmla="*/ 289 h 316"/>
              <a:gd name="T4" fmla="*/ 451 w 744"/>
              <a:gd name="T5" fmla="*/ 251 h 316"/>
              <a:gd name="T6" fmla="*/ 412 w 744"/>
              <a:gd name="T7" fmla="*/ 220 h 316"/>
              <a:gd name="T8" fmla="*/ 367 w 744"/>
              <a:gd name="T9" fmla="*/ 221 h 316"/>
              <a:gd name="T10" fmla="*/ 312 w 744"/>
              <a:gd name="T11" fmla="*/ 216 h 316"/>
              <a:gd name="T12" fmla="*/ 245 w 744"/>
              <a:gd name="T13" fmla="*/ 203 h 316"/>
              <a:gd name="T14" fmla="*/ 132 w 744"/>
              <a:gd name="T15" fmla="*/ 228 h 316"/>
              <a:gd name="T16" fmla="*/ 51 w 744"/>
              <a:gd name="T17" fmla="*/ 241 h 316"/>
              <a:gd name="T18" fmla="*/ 7 w 744"/>
              <a:gd name="T19" fmla="*/ 246 h 316"/>
              <a:gd name="T20" fmla="*/ 8 w 744"/>
              <a:gd name="T21" fmla="*/ 241 h 316"/>
              <a:gd name="T22" fmla="*/ 34 w 744"/>
              <a:gd name="T23" fmla="*/ 216 h 316"/>
              <a:gd name="T24" fmla="*/ 71 w 744"/>
              <a:gd name="T25" fmla="*/ 189 h 316"/>
              <a:gd name="T26" fmla="*/ 111 w 744"/>
              <a:gd name="T27" fmla="*/ 161 h 316"/>
              <a:gd name="T28" fmla="*/ 163 w 744"/>
              <a:gd name="T29" fmla="*/ 128 h 316"/>
              <a:gd name="T30" fmla="*/ 219 w 744"/>
              <a:gd name="T31" fmla="*/ 81 h 316"/>
              <a:gd name="T32" fmla="*/ 271 w 744"/>
              <a:gd name="T33" fmla="*/ 62 h 316"/>
              <a:gd name="T34" fmla="*/ 315 w 744"/>
              <a:gd name="T35" fmla="*/ 58 h 316"/>
              <a:gd name="T36" fmla="*/ 347 w 744"/>
              <a:gd name="T37" fmla="*/ 54 h 316"/>
              <a:gd name="T38" fmla="*/ 379 w 744"/>
              <a:gd name="T39" fmla="*/ 49 h 316"/>
              <a:gd name="T40" fmla="*/ 463 w 744"/>
              <a:gd name="T41" fmla="*/ 38 h 316"/>
              <a:gd name="T42" fmla="*/ 547 w 744"/>
              <a:gd name="T43" fmla="*/ 26 h 316"/>
              <a:gd name="T44" fmla="*/ 574 w 744"/>
              <a:gd name="T45" fmla="*/ 22 h 316"/>
              <a:gd name="T46" fmla="*/ 684 w 744"/>
              <a:gd name="T47" fmla="*/ 2 h 316"/>
              <a:gd name="T48" fmla="*/ 697 w 744"/>
              <a:gd name="T49" fmla="*/ 12 h 316"/>
              <a:gd name="T50" fmla="*/ 692 w 744"/>
              <a:gd name="T51" fmla="*/ 33 h 316"/>
              <a:gd name="T52" fmla="*/ 681 w 744"/>
              <a:gd name="T53" fmla="*/ 43 h 316"/>
              <a:gd name="T54" fmla="*/ 701 w 744"/>
              <a:gd name="T55" fmla="*/ 45 h 316"/>
              <a:gd name="T56" fmla="*/ 731 w 744"/>
              <a:gd name="T57" fmla="*/ 60 h 316"/>
              <a:gd name="T58" fmla="*/ 727 w 744"/>
              <a:gd name="T59" fmla="*/ 98 h 316"/>
              <a:gd name="T60" fmla="*/ 711 w 744"/>
              <a:gd name="T61" fmla="*/ 121 h 316"/>
              <a:gd name="T62" fmla="*/ 673 w 744"/>
              <a:gd name="T63" fmla="*/ 128 h 316"/>
              <a:gd name="T64" fmla="*/ 671 w 744"/>
              <a:gd name="T65" fmla="*/ 146 h 316"/>
              <a:gd name="T66" fmla="*/ 671 w 744"/>
              <a:gd name="T67" fmla="*/ 164 h 316"/>
              <a:gd name="T68" fmla="*/ 686 w 744"/>
              <a:gd name="T69" fmla="*/ 164 h 316"/>
              <a:gd name="T70" fmla="*/ 692 w 744"/>
              <a:gd name="T71" fmla="*/ 182 h 316"/>
              <a:gd name="T72" fmla="*/ 654 w 744"/>
              <a:gd name="T73" fmla="*/ 208 h 316"/>
              <a:gd name="T74" fmla="*/ 608 w 744"/>
              <a:gd name="T75" fmla="*/ 240 h 316"/>
              <a:gd name="T76" fmla="*/ 577 w 744"/>
              <a:gd name="T77" fmla="*/ 287 h 316"/>
              <a:gd name="T78" fmla="*/ 561 w 744"/>
              <a:gd name="T79" fmla="*/ 309 h 316"/>
              <a:gd name="T80" fmla="*/ 544 w 744"/>
              <a:gd name="T81" fmla="*/ 316 h 316"/>
              <a:gd name="T82" fmla="*/ 529 w 744"/>
              <a:gd name="T83" fmla="*/ 305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44" h="316">
                <a:moveTo>
                  <a:pt x="529" y="305"/>
                </a:moveTo>
                <a:cubicBezTo>
                  <a:pt x="521" y="300"/>
                  <a:pt x="510" y="292"/>
                  <a:pt x="503" y="289"/>
                </a:cubicBezTo>
                <a:cubicBezTo>
                  <a:pt x="497" y="286"/>
                  <a:pt x="473" y="269"/>
                  <a:pt x="451" y="251"/>
                </a:cubicBezTo>
                <a:cubicBezTo>
                  <a:pt x="412" y="220"/>
                  <a:pt x="412" y="220"/>
                  <a:pt x="412" y="220"/>
                </a:cubicBezTo>
                <a:cubicBezTo>
                  <a:pt x="367" y="221"/>
                  <a:pt x="367" y="221"/>
                  <a:pt x="367" y="221"/>
                </a:cubicBezTo>
                <a:cubicBezTo>
                  <a:pt x="328" y="223"/>
                  <a:pt x="320" y="222"/>
                  <a:pt x="312" y="216"/>
                </a:cubicBezTo>
                <a:cubicBezTo>
                  <a:pt x="297" y="204"/>
                  <a:pt x="289" y="203"/>
                  <a:pt x="245" y="203"/>
                </a:cubicBezTo>
                <a:cubicBezTo>
                  <a:pt x="200" y="204"/>
                  <a:pt x="169" y="210"/>
                  <a:pt x="132" y="228"/>
                </a:cubicBezTo>
                <a:cubicBezTo>
                  <a:pt x="111" y="237"/>
                  <a:pt x="107" y="238"/>
                  <a:pt x="51" y="241"/>
                </a:cubicBezTo>
                <a:cubicBezTo>
                  <a:pt x="31" y="243"/>
                  <a:pt x="12" y="245"/>
                  <a:pt x="7" y="246"/>
                </a:cubicBezTo>
                <a:cubicBezTo>
                  <a:pt x="0" y="248"/>
                  <a:pt x="0" y="247"/>
                  <a:pt x="8" y="241"/>
                </a:cubicBezTo>
                <a:cubicBezTo>
                  <a:pt x="13" y="237"/>
                  <a:pt x="25" y="226"/>
                  <a:pt x="34" y="216"/>
                </a:cubicBezTo>
                <a:cubicBezTo>
                  <a:pt x="44" y="207"/>
                  <a:pt x="60" y="194"/>
                  <a:pt x="71" y="189"/>
                </a:cubicBezTo>
                <a:cubicBezTo>
                  <a:pt x="82" y="183"/>
                  <a:pt x="100" y="171"/>
                  <a:pt x="111" y="161"/>
                </a:cubicBezTo>
                <a:cubicBezTo>
                  <a:pt x="122" y="151"/>
                  <a:pt x="146" y="136"/>
                  <a:pt x="163" y="128"/>
                </a:cubicBezTo>
                <a:cubicBezTo>
                  <a:pt x="196" y="112"/>
                  <a:pt x="214" y="97"/>
                  <a:pt x="219" y="81"/>
                </a:cubicBezTo>
                <a:cubicBezTo>
                  <a:pt x="223" y="68"/>
                  <a:pt x="231" y="65"/>
                  <a:pt x="271" y="62"/>
                </a:cubicBezTo>
                <a:cubicBezTo>
                  <a:pt x="290" y="60"/>
                  <a:pt x="310" y="58"/>
                  <a:pt x="315" y="58"/>
                </a:cubicBezTo>
                <a:cubicBezTo>
                  <a:pt x="319" y="57"/>
                  <a:pt x="334" y="55"/>
                  <a:pt x="347" y="54"/>
                </a:cubicBezTo>
                <a:cubicBezTo>
                  <a:pt x="359" y="52"/>
                  <a:pt x="374" y="50"/>
                  <a:pt x="379" y="49"/>
                </a:cubicBezTo>
                <a:cubicBezTo>
                  <a:pt x="383" y="49"/>
                  <a:pt x="421" y="43"/>
                  <a:pt x="463" y="38"/>
                </a:cubicBezTo>
                <a:cubicBezTo>
                  <a:pt x="505" y="32"/>
                  <a:pt x="543" y="27"/>
                  <a:pt x="547" y="26"/>
                </a:cubicBezTo>
                <a:cubicBezTo>
                  <a:pt x="552" y="25"/>
                  <a:pt x="563" y="23"/>
                  <a:pt x="574" y="22"/>
                </a:cubicBezTo>
                <a:cubicBezTo>
                  <a:pt x="602" y="18"/>
                  <a:pt x="656" y="8"/>
                  <a:pt x="684" y="2"/>
                </a:cubicBezTo>
                <a:cubicBezTo>
                  <a:pt x="690" y="0"/>
                  <a:pt x="693" y="2"/>
                  <a:pt x="697" y="12"/>
                </a:cubicBezTo>
                <a:cubicBezTo>
                  <a:pt x="702" y="23"/>
                  <a:pt x="702" y="25"/>
                  <a:pt x="692" y="33"/>
                </a:cubicBezTo>
                <a:cubicBezTo>
                  <a:pt x="681" y="43"/>
                  <a:pt x="681" y="43"/>
                  <a:pt x="681" y="43"/>
                </a:cubicBezTo>
                <a:cubicBezTo>
                  <a:pt x="701" y="45"/>
                  <a:pt x="701" y="45"/>
                  <a:pt x="701" y="45"/>
                </a:cubicBezTo>
                <a:cubicBezTo>
                  <a:pt x="715" y="48"/>
                  <a:pt x="723" y="51"/>
                  <a:pt x="731" y="60"/>
                </a:cubicBezTo>
                <a:cubicBezTo>
                  <a:pt x="744" y="75"/>
                  <a:pt x="744" y="80"/>
                  <a:pt x="727" y="98"/>
                </a:cubicBezTo>
                <a:cubicBezTo>
                  <a:pt x="719" y="107"/>
                  <a:pt x="712" y="117"/>
                  <a:pt x="711" y="121"/>
                </a:cubicBezTo>
                <a:cubicBezTo>
                  <a:pt x="709" y="127"/>
                  <a:pt x="691" y="130"/>
                  <a:pt x="673" y="128"/>
                </a:cubicBezTo>
                <a:cubicBezTo>
                  <a:pt x="672" y="128"/>
                  <a:pt x="671" y="136"/>
                  <a:pt x="671" y="146"/>
                </a:cubicBezTo>
                <a:cubicBezTo>
                  <a:pt x="671" y="164"/>
                  <a:pt x="671" y="164"/>
                  <a:pt x="671" y="164"/>
                </a:cubicBezTo>
                <a:cubicBezTo>
                  <a:pt x="686" y="164"/>
                  <a:pt x="686" y="164"/>
                  <a:pt x="686" y="164"/>
                </a:cubicBezTo>
                <a:cubicBezTo>
                  <a:pt x="703" y="164"/>
                  <a:pt x="705" y="167"/>
                  <a:pt x="692" y="182"/>
                </a:cubicBezTo>
                <a:cubicBezTo>
                  <a:pt x="674" y="203"/>
                  <a:pt x="668" y="208"/>
                  <a:pt x="654" y="208"/>
                </a:cubicBezTo>
                <a:cubicBezTo>
                  <a:pt x="641" y="208"/>
                  <a:pt x="636" y="212"/>
                  <a:pt x="608" y="240"/>
                </a:cubicBezTo>
                <a:cubicBezTo>
                  <a:pt x="581" y="268"/>
                  <a:pt x="577" y="274"/>
                  <a:pt x="577" y="287"/>
                </a:cubicBezTo>
                <a:cubicBezTo>
                  <a:pt x="577" y="300"/>
                  <a:pt x="576" y="302"/>
                  <a:pt x="561" y="309"/>
                </a:cubicBezTo>
                <a:cubicBezTo>
                  <a:pt x="552" y="312"/>
                  <a:pt x="545" y="316"/>
                  <a:pt x="544" y="316"/>
                </a:cubicBezTo>
                <a:cubicBezTo>
                  <a:pt x="543" y="316"/>
                  <a:pt x="536" y="311"/>
                  <a:pt x="529" y="305"/>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441" name="Freeform 105"/>
          <p:cNvSpPr>
            <a:spLocks/>
          </p:cNvSpPr>
          <p:nvPr userDrawn="1"/>
        </p:nvSpPr>
        <p:spPr bwMode="black">
          <a:xfrm>
            <a:off x="2556831" y="1307990"/>
            <a:ext cx="736600" cy="528639"/>
          </a:xfrm>
          <a:custGeom>
            <a:avLst/>
            <a:gdLst>
              <a:gd name="T0" fmla="*/ 485 w 512"/>
              <a:gd name="T1" fmla="*/ 366 h 367"/>
              <a:gd name="T2" fmla="*/ 460 w 512"/>
              <a:gd name="T3" fmla="*/ 363 h 367"/>
              <a:gd name="T4" fmla="*/ 426 w 512"/>
              <a:gd name="T5" fmla="*/ 359 h 367"/>
              <a:gd name="T6" fmla="*/ 398 w 512"/>
              <a:gd name="T7" fmla="*/ 355 h 367"/>
              <a:gd name="T8" fmla="*/ 366 w 512"/>
              <a:gd name="T9" fmla="*/ 351 h 367"/>
              <a:gd name="T10" fmla="*/ 302 w 512"/>
              <a:gd name="T11" fmla="*/ 343 h 367"/>
              <a:gd name="T12" fmla="*/ 270 w 512"/>
              <a:gd name="T13" fmla="*/ 338 h 367"/>
              <a:gd name="T14" fmla="*/ 180 w 512"/>
              <a:gd name="T15" fmla="*/ 327 h 367"/>
              <a:gd name="T16" fmla="*/ 88 w 512"/>
              <a:gd name="T17" fmla="*/ 315 h 367"/>
              <a:gd name="T18" fmla="*/ 24 w 512"/>
              <a:gd name="T19" fmla="*/ 306 h 367"/>
              <a:gd name="T20" fmla="*/ 0 w 512"/>
              <a:gd name="T21" fmla="*/ 304 h 367"/>
              <a:gd name="T22" fmla="*/ 10 w 512"/>
              <a:gd name="T23" fmla="*/ 239 h 367"/>
              <a:gd name="T24" fmla="*/ 24 w 512"/>
              <a:gd name="T25" fmla="*/ 162 h 367"/>
              <a:gd name="T26" fmla="*/ 28 w 512"/>
              <a:gd name="T27" fmla="*/ 138 h 367"/>
              <a:gd name="T28" fmla="*/ 40 w 512"/>
              <a:gd name="T29" fmla="*/ 66 h 367"/>
              <a:gd name="T30" fmla="*/ 50 w 512"/>
              <a:gd name="T31" fmla="*/ 3 h 367"/>
              <a:gd name="T32" fmla="*/ 121 w 512"/>
              <a:gd name="T33" fmla="*/ 6 h 367"/>
              <a:gd name="T34" fmla="*/ 156 w 512"/>
              <a:gd name="T35" fmla="*/ 10 h 367"/>
              <a:gd name="T36" fmla="*/ 194 w 512"/>
              <a:gd name="T37" fmla="*/ 14 h 367"/>
              <a:gd name="T38" fmla="*/ 228 w 512"/>
              <a:gd name="T39" fmla="*/ 18 h 367"/>
              <a:gd name="T40" fmla="*/ 266 w 512"/>
              <a:gd name="T41" fmla="*/ 23 h 367"/>
              <a:gd name="T42" fmla="*/ 404 w 512"/>
              <a:gd name="T43" fmla="*/ 39 h 367"/>
              <a:gd name="T44" fmla="*/ 438 w 512"/>
              <a:gd name="T45" fmla="*/ 43 h 367"/>
              <a:gd name="T46" fmla="*/ 474 w 512"/>
              <a:gd name="T47" fmla="*/ 47 h 367"/>
              <a:gd name="T48" fmla="*/ 498 w 512"/>
              <a:gd name="T49" fmla="*/ 53 h 367"/>
              <a:gd name="T50" fmla="*/ 502 w 512"/>
              <a:gd name="T51" fmla="*/ 122 h 367"/>
              <a:gd name="T52" fmla="*/ 504 w 512"/>
              <a:gd name="T53" fmla="*/ 201 h 367"/>
              <a:gd name="T54" fmla="*/ 512 w 512"/>
              <a:gd name="T55" fmla="*/ 353 h 367"/>
              <a:gd name="T56" fmla="*/ 499 w 512"/>
              <a:gd name="T57" fmla="*/ 367 h 367"/>
              <a:gd name="T58" fmla="*/ 485 w 512"/>
              <a:gd name="T59" fmla="*/ 366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367">
                <a:moveTo>
                  <a:pt x="485" y="366"/>
                </a:moveTo>
                <a:cubicBezTo>
                  <a:pt x="485" y="366"/>
                  <a:pt x="473" y="364"/>
                  <a:pt x="460" y="363"/>
                </a:cubicBezTo>
                <a:cubicBezTo>
                  <a:pt x="447" y="361"/>
                  <a:pt x="432" y="360"/>
                  <a:pt x="426" y="359"/>
                </a:cubicBezTo>
                <a:cubicBezTo>
                  <a:pt x="421" y="358"/>
                  <a:pt x="408" y="356"/>
                  <a:pt x="398" y="355"/>
                </a:cubicBezTo>
                <a:cubicBezTo>
                  <a:pt x="388" y="353"/>
                  <a:pt x="374" y="352"/>
                  <a:pt x="366" y="351"/>
                </a:cubicBezTo>
                <a:cubicBezTo>
                  <a:pt x="344" y="348"/>
                  <a:pt x="326" y="345"/>
                  <a:pt x="302" y="343"/>
                </a:cubicBezTo>
                <a:cubicBezTo>
                  <a:pt x="290" y="341"/>
                  <a:pt x="276" y="339"/>
                  <a:pt x="270" y="338"/>
                </a:cubicBezTo>
                <a:cubicBezTo>
                  <a:pt x="264" y="337"/>
                  <a:pt x="224" y="332"/>
                  <a:pt x="180" y="327"/>
                </a:cubicBezTo>
                <a:cubicBezTo>
                  <a:pt x="136" y="321"/>
                  <a:pt x="95" y="316"/>
                  <a:pt x="88" y="315"/>
                </a:cubicBezTo>
                <a:cubicBezTo>
                  <a:pt x="71" y="312"/>
                  <a:pt x="52" y="309"/>
                  <a:pt x="24" y="306"/>
                </a:cubicBezTo>
                <a:cubicBezTo>
                  <a:pt x="0" y="304"/>
                  <a:pt x="0" y="304"/>
                  <a:pt x="0" y="304"/>
                </a:cubicBezTo>
                <a:cubicBezTo>
                  <a:pt x="10" y="239"/>
                  <a:pt x="10" y="239"/>
                  <a:pt x="10" y="239"/>
                </a:cubicBezTo>
                <a:cubicBezTo>
                  <a:pt x="17" y="204"/>
                  <a:pt x="23" y="169"/>
                  <a:pt x="24" y="162"/>
                </a:cubicBezTo>
                <a:cubicBezTo>
                  <a:pt x="25" y="154"/>
                  <a:pt x="27" y="144"/>
                  <a:pt x="28" y="138"/>
                </a:cubicBezTo>
                <a:cubicBezTo>
                  <a:pt x="29" y="132"/>
                  <a:pt x="34" y="99"/>
                  <a:pt x="40" y="66"/>
                </a:cubicBezTo>
                <a:cubicBezTo>
                  <a:pt x="46" y="33"/>
                  <a:pt x="50" y="4"/>
                  <a:pt x="50" y="3"/>
                </a:cubicBezTo>
                <a:cubicBezTo>
                  <a:pt x="50" y="0"/>
                  <a:pt x="102" y="3"/>
                  <a:pt x="121" y="6"/>
                </a:cubicBezTo>
                <a:cubicBezTo>
                  <a:pt x="125" y="7"/>
                  <a:pt x="141" y="9"/>
                  <a:pt x="156" y="10"/>
                </a:cubicBezTo>
                <a:cubicBezTo>
                  <a:pt x="172" y="12"/>
                  <a:pt x="189" y="14"/>
                  <a:pt x="194" y="14"/>
                </a:cubicBezTo>
                <a:cubicBezTo>
                  <a:pt x="200" y="15"/>
                  <a:pt x="215" y="17"/>
                  <a:pt x="228" y="18"/>
                </a:cubicBezTo>
                <a:cubicBezTo>
                  <a:pt x="241" y="20"/>
                  <a:pt x="258" y="22"/>
                  <a:pt x="266" y="23"/>
                </a:cubicBezTo>
                <a:cubicBezTo>
                  <a:pt x="291" y="26"/>
                  <a:pt x="384" y="37"/>
                  <a:pt x="404" y="39"/>
                </a:cubicBezTo>
                <a:cubicBezTo>
                  <a:pt x="415" y="40"/>
                  <a:pt x="430" y="42"/>
                  <a:pt x="438" y="43"/>
                </a:cubicBezTo>
                <a:cubicBezTo>
                  <a:pt x="446" y="43"/>
                  <a:pt x="462" y="45"/>
                  <a:pt x="474" y="47"/>
                </a:cubicBezTo>
                <a:cubicBezTo>
                  <a:pt x="486" y="48"/>
                  <a:pt x="497" y="51"/>
                  <a:pt x="498" y="53"/>
                </a:cubicBezTo>
                <a:cubicBezTo>
                  <a:pt x="500" y="55"/>
                  <a:pt x="501" y="86"/>
                  <a:pt x="502" y="122"/>
                </a:cubicBezTo>
                <a:cubicBezTo>
                  <a:pt x="502" y="157"/>
                  <a:pt x="503" y="193"/>
                  <a:pt x="504" y="201"/>
                </a:cubicBezTo>
                <a:cubicBezTo>
                  <a:pt x="505" y="213"/>
                  <a:pt x="510" y="312"/>
                  <a:pt x="512" y="353"/>
                </a:cubicBezTo>
                <a:cubicBezTo>
                  <a:pt x="512" y="366"/>
                  <a:pt x="511" y="367"/>
                  <a:pt x="499" y="367"/>
                </a:cubicBezTo>
                <a:cubicBezTo>
                  <a:pt x="492" y="367"/>
                  <a:pt x="486" y="367"/>
                  <a:pt x="485" y="366"/>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442" name="Freeform 106"/>
          <p:cNvSpPr>
            <a:spLocks/>
          </p:cNvSpPr>
          <p:nvPr userDrawn="1"/>
        </p:nvSpPr>
        <p:spPr bwMode="black">
          <a:xfrm>
            <a:off x="2429831" y="2204929"/>
            <a:ext cx="941388" cy="539751"/>
          </a:xfrm>
          <a:custGeom>
            <a:avLst/>
            <a:gdLst>
              <a:gd name="T0" fmla="*/ 612 w 654"/>
              <a:gd name="T1" fmla="*/ 372 h 376"/>
              <a:gd name="T2" fmla="*/ 560 w 654"/>
              <a:gd name="T3" fmla="*/ 367 h 376"/>
              <a:gd name="T4" fmla="*/ 482 w 654"/>
              <a:gd name="T5" fmla="*/ 358 h 376"/>
              <a:gd name="T6" fmla="*/ 408 w 654"/>
              <a:gd name="T7" fmla="*/ 350 h 376"/>
              <a:gd name="T8" fmla="*/ 374 w 654"/>
              <a:gd name="T9" fmla="*/ 347 h 376"/>
              <a:gd name="T10" fmla="*/ 282 w 654"/>
              <a:gd name="T11" fmla="*/ 337 h 376"/>
              <a:gd name="T12" fmla="*/ 230 w 654"/>
              <a:gd name="T13" fmla="*/ 331 h 376"/>
              <a:gd name="T14" fmla="*/ 152 w 654"/>
              <a:gd name="T15" fmla="*/ 323 h 376"/>
              <a:gd name="T16" fmla="*/ 156 w 654"/>
              <a:gd name="T17" fmla="*/ 239 h 376"/>
              <a:gd name="T18" fmla="*/ 30 w 654"/>
              <a:gd name="T19" fmla="*/ 198 h 376"/>
              <a:gd name="T20" fmla="*/ 10 w 654"/>
              <a:gd name="T21" fmla="*/ 194 h 376"/>
              <a:gd name="T22" fmla="*/ 0 w 654"/>
              <a:gd name="T23" fmla="*/ 192 h 376"/>
              <a:gd name="T24" fmla="*/ 16 w 654"/>
              <a:gd name="T25" fmla="*/ 97 h 376"/>
              <a:gd name="T26" fmla="*/ 33 w 654"/>
              <a:gd name="T27" fmla="*/ 1 h 376"/>
              <a:gd name="T28" fmla="*/ 180 w 654"/>
              <a:gd name="T29" fmla="*/ 19 h 376"/>
              <a:gd name="T30" fmla="*/ 244 w 654"/>
              <a:gd name="T31" fmla="*/ 27 h 376"/>
              <a:gd name="T32" fmla="*/ 306 w 654"/>
              <a:gd name="T33" fmla="*/ 35 h 376"/>
              <a:gd name="T34" fmla="*/ 338 w 654"/>
              <a:gd name="T35" fmla="*/ 39 h 376"/>
              <a:gd name="T36" fmla="*/ 366 w 654"/>
              <a:gd name="T37" fmla="*/ 42 h 376"/>
              <a:gd name="T38" fmla="*/ 398 w 654"/>
              <a:gd name="T39" fmla="*/ 46 h 376"/>
              <a:gd name="T40" fmla="*/ 464 w 654"/>
              <a:gd name="T41" fmla="*/ 69 h 376"/>
              <a:gd name="T42" fmla="*/ 503 w 654"/>
              <a:gd name="T43" fmla="*/ 79 h 376"/>
              <a:gd name="T44" fmla="*/ 547 w 654"/>
              <a:gd name="T45" fmla="*/ 85 h 376"/>
              <a:gd name="T46" fmla="*/ 574 w 654"/>
              <a:gd name="T47" fmla="*/ 96 h 376"/>
              <a:gd name="T48" fmla="*/ 585 w 654"/>
              <a:gd name="T49" fmla="*/ 115 h 376"/>
              <a:gd name="T50" fmla="*/ 595 w 654"/>
              <a:gd name="T51" fmla="*/ 151 h 376"/>
              <a:gd name="T52" fmla="*/ 608 w 654"/>
              <a:gd name="T53" fmla="*/ 197 h 376"/>
              <a:gd name="T54" fmla="*/ 612 w 654"/>
              <a:gd name="T55" fmla="*/ 229 h 376"/>
              <a:gd name="T56" fmla="*/ 616 w 654"/>
              <a:gd name="T57" fmla="*/ 263 h 376"/>
              <a:gd name="T58" fmla="*/ 629 w 654"/>
              <a:gd name="T59" fmla="*/ 311 h 376"/>
              <a:gd name="T60" fmla="*/ 654 w 654"/>
              <a:gd name="T61" fmla="*/ 375 h 376"/>
              <a:gd name="T62" fmla="*/ 612 w 654"/>
              <a:gd name="T63" fmla="*/ 372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54" h="376">
                <a:moveTo>
                  <a:pt x="612" y="372"/>
                </a:moveTo>
                <a:cubicBezTo>
                  <a:pt x="597" y="370"/>
                  <a:pt x="573" y="368"/>
                  <a:pt x="560" y="367"/>
                </a:cubicBezTo>
                <a:cubicBezTo>
                  <a:pt x="547" y="365"/>
                  <a:pt x="512" y="362"/>
                  <a:pt x="482" y="358"/>
                </a:cubicBezTo>
                <a:cubicBezTo>
                  <a:pt x="452" y="355"/>
                  <a:pt x="419" y="351"/>
                  <a:pt x="408" y="350"/>
                </a:cubicBezTo>
                <a:cubicBezTo>
                  <a:pt x="397" y="349"/>
                  <a:pt x="382" y="348"/>
                  <a:pt x="374" y="347"/>
                </a:cubicBezTo>
                <a:cubicBezTo>
                  <a:pt x="356" y="344"/>
                  <a:pt x="335" y="342"/>
                  <a:pt x="282" y="337"/>
                </a:cubicBezTo>
                <a:cubicBezTo>
                  <a:pt x="259" y="334"/>
                  <a:pt x="236" y="331"/>
                  <a:pt x="230" y="331"/>
                </a:cubicBezTo>
                <a:cubicBezTo>
                  <a:pt x="222" y="329"/>
                  <a:pt x="164" y="323"/>
                  <a:pt x="152" y="323"/>
                </a:cubicBezTo>
                <a:cubicBezTo>
                  <a:pt x="147" y="322"/>
                  <a:pt x="148" y="289"/>
                  <a:pt x="156" y="239"/>
                </a:cubicBezTo>
                <a:cubicBezTo>
                  <a:pt x="160" y="218"/>
                  <a:pt x="166" y="220"/>
                  <a:pt x="30" y="198"/>
                </a:cubicBezTo>
                <a:cubicBezTo>
                  <a:pt x="25" y="197"/>
                  <a:pt x="16" y="195"/>
                  <a:pt x="10" y="194"/>
                </a:cubicBezTo>
                <a:cubicBezTo>
                  <a:pt x="0" y="192"/>
                  <a:pt x="0" y="192"/>
                  <a:pt x="0" y="192"/>
                </a:cubicBezTo>
                <a:cubicBezTo>
                  <a:pt x="16" y="97"/>
                  <a:pt x="16" y="97"/>
                  <a:pt x="16" y="97"/>
                </a:cubicBezTo>
                <a:cubicBezTo>
                  <a:pt x="24" y="45"/>
                  <a:pt x="32" y="2"/>
                  <a:pt x="33" y="1"/>
                </a:cubicBezTo>
                <a:cubicBezTo>
                  <a:pt x="34" y="0"/>
                  <a:pt x="126" y="11"/>
                  <a:pt x="180" y="19"/>
                </a:cubicBezTo>
                <a:cubicBezTo>
                  <a:pt x="187" y="20"/>
                  <a:pt x="216" y="23"/>
                  <a:pt x="244" y="27"/>
                </a:cubicBezTo>
                <a:cubicBezTo>
                  <a:pt x="273" y="30"/>
                  <a:pt x="301" y="34"/>
                  <a:pt x="306" y="35"/>
                </a:cubicBezTo>
                <a:cubicBezTo>
                  <a:pt x="312" y="35"/>
                  <a:pt x="326" y="37"/>
                  <a:pt x="338" y="39"/>
                </a:cubicBezTo>
                <a:cubicBezTo>
                  <a:pt x="350" y="40"/>
                  <a:pt x="362" y="42"/>
                  <a:pt x="366" y="42"/>
                </a:cubicBezTo>
                <a:cubicBezTo>
                  <a:pt x="369" y="43"/>
                  <a:pt x="384" y="45"/>
                  <a:pt x="398" y="46"/>
                </a:cubicBezTo>
                <a:cubicBezTo>
                  <a:pt x="437" y="50"/>
                  <a:pt x="451" y="55"/>
                  <a:pt x="464" y="69"/>
                </a:cubicBezTo>
                <a:cubicBezTo>
                  <a:pt x="476" y="81"/>
                  <a:pt x="477" y="81"/>
                  <a:pt x="503" y="79"/>
                </a:cubicBezTo>
                <a:cubicBezTo>
                  <a:pt x="526" y="77"/>
                  <a:pt x="533" y="78"/>
                  <a:pt x="547" y="85"/>
                </a:cubicBezTo>
                <a:cubicBezTo>
                  <a:pt x="557" y="90"/>
                  <a:pt x="569" y="95"/>
                  <a:pt x="574" y="96"/>
                </a:cubicBezTo>
                <a:cubicBezTo>
                  <a:pt x="583" y="99"/>
                  <a:pt x="584" y="102"/>
                  <a:pt x="585" y="115"/>
                </a:cubicBezTo>
                <a:cubicBezTo>
                  <a:pt x="585" y="124"/>
                  <a:pt x="590" y="140"/>
                  <a:pt x="595" y="151"/>
                </a:cubicBezTo>
                <a:cubicBezTo>
                  <a:pt x="601" y="163"/>
                  <a:pt x="607" y="183"/>
                  <a:pt x="608" y="197"/>
                </a:cubicBezTo>
                <a:cubicBezTo>
                  <a:pt x="610" y="211"/>
                  <a:pt x="612" y="225"/>
                  <a:pt x="612" y="229"/>
                </a:cubicBezTo>
                <a:cubicBezTo>
                  <a:pt x="613" y="232"/>
                  <a:pt x="615" y="247"/>
                  <a:pt x="616" y="263"/>
                </a:cubicBezTo>
                <a:cubicBezTo>
                  <a:pt x="618" y="280"/>
                  <a:pt x="623" y="298"/>
                  <a:pt x="629" y="311"/>
                </a:cubicBezTo>
                <a:cubicBezTo>
                  <a:pt x="637" y="326"/>
                  <a:pt x="654" y="368"/>
                  <a:pt x="654" y="375"/>
                </a:cubicBezTo>
                <a:cubicBezTo>
                  <a:pt x="654" y="376"/>
                  <a:pt x="654" y="376"/>
                  <a:pt x="612" y="372"/>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443" name="Freeform 107"/>
          <p:cNvSpPr>
            <a:spLocks/>
          </p:cNvSpPr>
          <p:nvPr userDrawn="1"/>
        </p:nvSpPr>
        <p:spPr bwMode="black">
          <a:xfrm>
            <a:off x="5890581" y="1744554"/>
            <a:ext cx="171451" cy="377825"/>
          </a:xfrm>
          <a:custGeom>
            <a:avLst/>
            <a:gdLst>
              <a:gd name="T0" fmla="*/ 13 w 120"/>
              <a:gd name="T1" fmla="*/ 263 h 264"/>
              <a:gd name="T2" fmla="*/ 4 w 120"/>
              <a:gd name="T3" fmla="*/ 258 h 264"/>
              <a:gd name="T4" fmla="*/ 2 w 120"/>
              <a:gd name="T5" fmla="*/ 184 h 264"/>
              <a:gd name="T6" fmla="*/ 0 w 120"/>
              <a:gd name="T7" fmla="*/ 113 h 264"/>
              <a:gd name="T8" fmla="*/ 14 w 120"/>
              <a:gd name="T9" fmla="*/ 97 h 264"/>
              <a:gd name="T10" fmla="*/ 26 w 120"/>
              <a:gd name="T11" fmla="*/ 72 h 264"/>
              <a:gd name="T12" fmla="*/ 25 w 120"/>
              <a:gd name="T13" fmla="*/ 17 h 264"/>
              <a:gd name="T14" fmla="*/ 46 w 120"/>
              <a:gd name="T15" fmla="*/ 26 h 264"/>
              <a:gd name="T16" fmla="*/ 75 w 120"/>
              <a:gd name="T17" fmla="*/ 132 h 264"/>
              <a:gd name="T18" fmla="*/ 115 w 120"/>
              <a:gd name="T19" fmla="*/ 203 h 264"/>
              <a:gd name="T20" fmla="*/ 120 w 120"/>
              <a:gd name="T21" fmla="*/ 216 h 264"/>
              <a:gd name="T22" fmla="*/ 114 w 120"/>
              <a:gd name="T23" fmla="*/ 224 h 264"/>
              <a:gd name="T24" fmla="*/ 89 w 120"/>
              <a:gd name="T25" fmla="*/ 239 h 264"/>
              <a:gd name="T26" fmla="*/ 53 w 120"/>
              <a:gd name="T27" fmla="*/ 260 h 264"/>
              <a:gd name="T28" fmla="*/ 28 w 120"/>
              <a:gd name="T29" fmla="*/ 263 h 264"/>
              <a:gd name="T30" fmla="*/ 13 w 120"/>
              <a:gd name="T31" fmla="*/ 26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0" h="264">
                <a:moveTo>
                  <a:pt x="13" y="263"/>
                </a:moveTo>
                <a:cubicBezTo>
                  <a:pt x="8" y="262"/>
                  <a:pt x="4" y="260"/>
                  <a:pt x="4" y="258"/>
                </a:cubicBezTo>
                <a:cubicBezTo>
                  <a:pt x="4" y="257"/>
                  <a:pt x="3" y="224"/>
                  <a:pt x="2" y="184"/>
                </a:cubicBezTo>
                <a:cubicBezTo>
                  <a:pt x="0" y="113"/>
                  <a:pt x="0" y="113"/>
                  <a:pt x="0" y="113"/>
                </a:cubicBezTo>
                <a:cubicBezTo>
                  <a:pt x="14" y="97"/>
                  <a:pt x="14" y="97"/>
                  <a:pt x="14" y="97"/>
                </a:cubicBezTo>
                <a:cubicBezTo>
                  <a:pt x="24" y="86"/>
                  <a:pt x="28" y="79"/>
                  <a:pt x="26" y="72"/>
                </a:cubicBezTo>
                <a:cubicBezTo>
                  <a:pt x="16" y="29"/>
                  <a:pt x="16" y="28"/>
                  <a:pt x="25" y="17"/>
                </a:cubicBezTo>
                <a:cubicBezTo>
                  <a:pt x="37" y="0"/>
                  <a:pt x="42" y="2"/>
                  <a:pt x="46" y="26"/>
                </a:cubicBezTo>
                <a:cubicBezTo>
                  <a:pt x="48" y="42"/>
                  <a:pt x="59" y="81"/>
                  <a:pt x="75" y="132"/>
                </a:cubicBezTo>
                <a:cubicBezTo>
                  <a:pt x="85" y="165"/>
                  <a:pt x="102" y="195"/>
                  <a:pt x="115" y="203"/>
                </a:cubicBezTo>
                <a:cubicBezTo>
                  <a:pt x="118" y="205"/>
                  <a:pt x="120" y="211"/>
                  <a:pt x="120" y="216"/>
                </a:cubicBezTo>
                <a:cubicBezTo>
                  <a:pt x="120" y="224"/>
                  <a:pt x="119" y="226"/>
                  <a:pt x="114" y="224"/>
                </a:cubicBezTo>
                <a:cubicBezTo>
                  <a:pt x="110" y="222"/>
                  <a:pt x="101" y="228"/>
                  <a:pt x="89" y="239"/>
                </a:cubicBezTo>
                <a:cubicBezTo>
                  <a:pt x="75" y="254"/>
                  <a:pt x="67" y="258"/>
                  <a:pt x="53" y="260"/>
                </a:cubicBezTo>
                <a:cubicBezTo>
                  <a:pt x="42" y="261"/>
                  <a:pt x="31" y="263"/>
                  <a:pt x="28" y="263"/>
                </a:cubicBezTo>
                <a:cubicBezTo>
                  <a:pt x="25" y="264"/>
                  <a:pt x="18" y="264"/>
                  <a:pt x="13" y="263"/>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444" name="Freeform 108"/>
          <p:cNvSpPr>
            <a:spLocks/>
          </p:cNvSpPr>
          <p:nvPr userDrawn="1"/>
        </p:nvSpPr>
        <p:spPr bwMode="black">
          <a:xfrm>
            <a:off x="5657221" y="2404954"/>
            <a:ext cx="157163" cy="354013"/>
          </a:xfrm>
          <a:custGeom>
            <a:avLst/>
            <a:gdLst>
              <a:gd name="T0" fmla="*/ 31 w 109"/>
              <a:gd name="T1" fmla="*/ 237 h 247"/>
              <a:gd name="T2" fmla="*/ 3 w 109"/>
              <a:gd name="T3" fmla="*/ 193 h 247"/>
              <a:gd name="T4" fmla="*/ 2 w 109"/>
              <a:gd name="T5" fmla="*/ 171 h 247"/>
              <a:gd name="T6" fmla="*/ 21 w 109"/>
              <a:gd name="T7" fmla="*/ 144 h 247"/>
              <a:gd name="T8" fmla="*/ 42 w 109"/>
              <a:gd name="T9" fmla="*/ 118 h 247"/>
              <a:gd name="T10" fmla="*/ 26 w 109"/>
              <a:gd name="T11" fmla="*/ 102 h 247"/>
              <a:gd name="T12" fmla="*/ 6 w 109"/>
              <a:gd name="T13" fmla="*/ 68 h 247"/>
              <a:gd name="T14" fmla="*/ 16 w 109"/>
              <a:gd name="T15" fmla="*/ 26 h 247"/>
              <a:gd name="T16" fmla="*/ 21 w 109"/>
              <a:gd name="T17" fmla="*/ 5 h 247"/>
              <a:gd name="T18" fmla="*/ 91 w 109"/>
              <a:gd name="T19" fmla="*/ 30 h 247"/>
              <a:gd name="T20" fmla="*/ 94 w 109"/>
              <a:gd name="T21" fmla="*/ 47 h 247"/>
              <a:gd name="T22" fmla="*/ 103 w 109"/>
              <a:gd name="T23" fmla="*/ 103 h 247"/>
              <a:gd name="T24" fmla="*/ 108 w 109"/>
              <a:gd name="T25" fmla="*/ 129 h 247"/>
              <a:gd name="T26" fmla="*/ 105 w 109"/>
              <a:gd name="T27" fmla="*/ 152 h 247"/>
              <a:gd name="T28" fmla="*/ 61 w 109"/>
              <a:gd name="T29" fmla="*/ 239 h 247"/>
              <a:gd name="T30" fmla="*/ 31 w 109"/>
              <a:gd name="T31" fmla="*/ 237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9" h="247">
                <a:moveTo>
                  <a:pt x="31" y="237"/>
                </a:moveTo>
                <a:cubicBezTo>
                  <a:pt x="9" y="226"/>
                  <a:pt x="2" y="215"/>
                  <a:pt x="3" y="193"/>
                </a:cubicBezTo>
                <a:cubicBezTo>
                  <a:pt x="3" y="183"/>
                  <a:pt x="2" y="174"/>
                  <a:pt x="2" y="171"/>
                </a:cubicBezTo>
                <a:cubicBezTo>
                  <a:pt x="1" y="169"/>
                  <a:pt x="10" y="157"/>
                  <a:pt x="21" y="144"/>
                </a:cubicBezTo>
                <a:cubicBezTo>
                  <a:pt x="33" y="132"/>
                  <a:pt x="42" y="120"/>
                  <a:pt x="42" y="118"/>
                </a:cubicBezTo>
                <a:cubicBezTo>
                  <a:pt x="42" y="116"/>
                  <a:pt x="35" y="109"/>
                  <a:pt x="26" y="102"/>
                </a:cubicBezTo>
                <a:cubicBezTo>
                  <a:pt x="6" y="86"/>
                  <a:pt x="0" y="75"/>
                  <a:pt x="6" y="68"/>
                </a:cubicBezTo>
                <a:cubicBezTo>
                  <a:pt x="11" y="62"/>
                  <a:pt x="12" y="57"/>
                  <a:pt x="16" y="26"/>
                </a:cubicBezTo>
                <a:cubicBezTo>
                  <a:pt x="17" y="16"/>
                  <a:pt x="20" y="7"/>
                  <a:pt x="21" y="5"/>
                </a:cubicBezTo>
                <a:cubicBezTo>
                  <a:pt x="26" y="0"/>
                  <a:pt x="83" y="20"/>
                  <a:pt x="91" y="30"/>
                </a:cubicBezTo>
                <a:cubicBezTo>
                  <a:pt x="96" y="36"/>
                  <a:pt x="97" y="41"/>
                  <a:pt x="94" y="47"/>
                </a:cubicBezTo>
                <a:cubicBezTo>
                  <a:pt x="90" y="57"/>
                  <a:pt x="94" y="81"/>
                  <a:pt x="103" y="103"/>
                </a:cubicBezTo>
                <a:cubicBezTo>
                  <a:pt x="107" y="111"/>
                  <a:pt x="109" y="123"/>
                  <a:pt x="108" y="129"/>
                </a:cubicBezTo>
                <a:cubicBezTo>
                  <a:pt x="107" y="135"/>
                  <a:pt x="105" y="145"/>
                  <a:pt x="105" y="152"/>
                </a:cubicBezTo>
                <a:cubicBezTo>
                  <a:pt x="102" y="172"/>
                  <a:pt x="72" y="232"/>
                  <a:pt x="61" y="239"/>
                </a:cubicBezTo>
                <a:cubicBezTo>
                  <a:pt x="48" y="247"/>
                  <a:pt x="51" y="247"/>
                  <a:pt x="31" y="237"/>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445" name="Freeform 109"/>
          <p:cNvSpPr>
            <a:spLocks/>
          </p:cNvSpPr>
          <p:nvPr userDrawn="1"/>
        </p:nvSpPr>
        <p:spPr bwMode="black">
          <a:xfrm>
            <a:off x="1548769" y="2997091"/>
            <a:ext cx="901700" cy="877888"/>
          </a:xfrm>
          <a:custGeom>
            <a:avLst/>
            <a:gdLst>
              <a:gd name="T0" fmla="*/ 497 w 627"/>
              <a:gd name="T1" fmla="*/ 593 h 612"/>
              <a:gd name="T2" fmla="*/ 443 w 627"/>
              <a:gd name="T3" fmla="*/ 584 h 612"/>
              <a:gd name="T4" fmla="*/ 323 w 627"/>
              <a:gd name="T5" fmla="*/ 563 h 612"/>
              <a:gd name="T6" fmla="*/ 269 w 627"/>
              <a:gd name="T7" fmla="*/ 560 h 612"/>
              <a:gd name="T8" fmla="*/ 234 w 627"/>
              <a:gd name="T9" fmla="*/ 558 h 612"/>
              <a:gd name="T10" fmla="*/ 229 w 627"/>
              <a:gd name="T11" fmla="*/ 583 h 612"/>
              <a:gd name="T12" fmla="*/ 195 w 627"/>
              <a:gd name="T13" fmla="*/ 583 h 612"/>
              <a:gd name="T14" fmla="*/ 147 w 627"/>
              <a:gd name="T15" fmla="*/ 574 h 612"/>
              <a:gd name="T16" fmla="*/ 108 w 627"/>
              <a:gd name="T17" fmla="*/ 568 h 612"/>
              <a:gd name="T18" fmla="*/ 75 w 627"/>
              <a:gd name="T19" fmla="*/ 568 h 612"/>
              <a:gd name="T20" fmla="*/ 55 w 627"/>
              <a:gd name="T21" fmla="*/ 610 h 612"/>
              <a:gd name="T22" fmla="*/ 7 w 627"/>
              <a:gd name="T23" fmla="*/ 583 h 612"/>
              <a:gd name="T24" fmla="*/ 56 w 627"/>
              <a:gd name="T25" fmla="*/ 364 h 612"/>
              <a:gd name="T26" fmla="*/ 70 w 627"/>
              <a:gd name="T27" fmla="*/ 302 h 612"/>
              <a:gd name="T28" fmla="*/ 78 w 627"/>
              <a:gd name="T29" fmla="*/ 266 h 612"/>
              <a:gd name="T30" fmla="*/ 85 w 627"/>
              <a:gd name="T31" fmla="*/ 232 h 612"/>
              <a:gd name="T32" fmla="*/ 113 w 627"/>
              <a:gd name="T33" fmla="*/ 112 h 612"/>
              <a:gd name="T34" fmla="*/ 138 w 627"/>
              <a:gd name="T35" fmla="*/ 0 h 612"/>
              <a:gd name="T36" fmla="*/ 150 w 627"/>
              <a:gd name="T37" fmla="*/ 0 h 612"/>
              <a:gd name="T38" fmla="*/ 175 w 627"/>
              <a:gd name="T39" fmla="*/ 3 h 612"/>
              <a:gd name="T40" fmla="*/ 407 w 627"/>
              <a:gd name="T41" fmla="*/ 47 h 612"/>
              <a:gd name="T42" fmla="*/ 427 w 627"/>
              <a:gd name="T43" fmla="*/ 51 h 612"/>
              <a:gd name="T44" fmla="*/ 608 w 627"/>
              <a:gd name="T45" fmla="*/ 86 h 612"/>
              <a:gd name="T46" fmla="*/ 625 w 627"/>
              <a:gd name="T47" fmla="*/ 103 h 612"/>
              <a:gd name="T48" fmla="*/ 622 w 627"/>
              <a:gd name="T49" fmla="*/ 126 h 612"/>
              <a:gd name="T50" fmla="*/ 618 w 627"/>
              <a:gd name="T51" fmla="*/ 150 h 612"/>
              <a:gd name="T52" fmla="*/ 607 w 627"/>
              <a:gd name="T53" fmla="*/ 214 h 612"/>
              <a:gd name="T54" fmla="*/ 597 w 627"/>
              <a:gd name="T55" fmla="*/ 272 h 612"/>
              <a:gd name="T56" fmla="*/ 571 w 627"/>
              <a:gd name="T57" fmla="*/ 430 h 612"/>
              <a:gd name="T58" fmla="*/ 540 w 627"/>
              <a:gd name="T59" fmla="*/ 601 h 612"/>
              <a:gd name="T60" fmla="*/ 497 w 627"/>
              <a:gd name="T61" fmla="*/ 593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27" h="612">
                <a:moveTo>
                  <a:pt x="497" y="593"/>
                </a:moveTo>
                <a:cubicBezTo>
                  <a:pt x="475" y="589"/>
                  <a:pt x="451" y="585"/>
                  <a:pt x="443" y="584"/>
                </a:cubicBezTo>
                <a:cubicBezTo>
                  <a:pt x="422" y="580"/>
                  <a:pt x="339" y="566"/>
                  <a:pt x="323" y="563"/>
                </a:cubicBezTo>
                <a:cubicBezTo>
                  <a:pt x="315" y="561"/>
                  <a:pt x="291" y="560"/>
                  <a:pt x="269" y="560"/>
                </a:cubicBezTo>
                <a:cubicBezTo>
                  <a:pt x="234" y="558"/>
                  <a:pt x="234" y="558"/>
                  <a:pt x="234" y="558"/>
                </a:cubicBezTo>
                <a:cubicBezTo>
                  <a:pt x="229" y="583"/>
                  <a:pt x="229" y="583"/>
                  <a:pt x="229" y="583"/>
                </a:cubicBezTo>
                <a:cubicBezTo>
                  <a:pt x="228" y="595"/>
                  <a:pt x="225" y="583"/>
                  <a:pt x="195" y="583"/>
                </a:cubicBezTo>
                <a:cubicBezTo>
                  <a:pt x="178" y="582"/>
                  <a:pt x="161" y="576"/>
                  <a:pt x="147" y="574"/>
                </a:cubicBezTo>
                <a:cubicBezTo>
                  <a:pt x="133" y="573"/>
                  <a:pt x="113" y="569"/>
                  <a:pt x="108" y="568"/>
                </a:cubicBezTo>
                <a:cubicBezTo>
                  <a:pt x="91" y="564"/>
                  <a:pt x="80" y="551"/>
                  <a:pt x="75" y="568"/>
                </a:cubicBezTo>
                <a:cubicBezTo>
                  <a:pt x="70" y="584"/>
                  <a:pt x="72" y="610"/>
                  <a:pt x="55" y="610"/>
                </a:cubicBezTo>
                <a:cubicBezTo>
                  <a:pt x="32" y="610"/>
                  <a:pt x="0" y="600"/>
                  <a:pt x="7" y="583"/>
                </a:cubicBezTo>
                <a:cubicBezTo>
                  <a:pt x="9" y="578"/>
                  <a:pt x="34" y="457"/>
                  <a:pt x="56" y="364"/>
                </a:cubicBezTo>
                <a:cubicBezTo>
                  <a:pt x="62" y="335"/>
                  <a:pt x="69" y="307"/>
                  <a:pt x="70" y="302"/>
                </a:cubicBezTo>
                <a:cubicBezTo>
                  <a:pt x="71" y="297"/>
                  <a:pt x="74" y="281"/>
                  <a:pt x="78" y="266"/>
                </a:cubicBezTo>
                <a:cubicBezTo>
                  <a:pt x="81" y="252"/>
                  <a:pt x="85" y="236"/>
                  <a:pt x="85" y="232"/>
                </a:cubicBezTo>
                <a:cubicBezTo>
                  <a:pt x="86" y="227"/>
                  <a:pt x="99" y="173"/>
                  <a:pt x="113" y="112"/>
                </a:cubicBezTo>
                <a:cubicBezTo>
                  <a:pt x="138" y="0"/>
                  <a:pt x="138" y="0"/>
                  <a:pt x="138" y="0"/>
                </a:cubicBezTo>
                <a:cubicBezTo>
                  <a:pt x="150" y="0"/>
                  <a:pt x="150" y="0"/>
                  <a:pt x="150" y="0"/>
                </a:cubicBezTo>
                <a:cubicBezTo>
                  <a:pt x="156" y="0"/>
                  <a:pt x="167" y="1"/>
                  <a:pt x="175" y="3"/>
                </a:cubicBezTo>
                <a:cubicBezTo>
                  <a:pt x="222" y="11"/>
                  <a:pt x="402" y="46"/>
                  <a:pt x="407" y="47"/>
                </a:cubicBezTo>
                <a:cubicBezTo>
                  <a:pt x="410" y="48"/>
                  <a:pt x="419" y="50"/>
                  <a:pt x="427" y="51"/>
                </a:cubicBezTo>
                <a:cubicBezTo>
                  <a:pt x="446" y="54"/>
                  <a:pt x="584" y="81"/>
                  <a:pt x="608" y="86"/>
                </a:cubicBezTo>
                <a:cubicBezTo>
                  <a:pt x="627" y="90"/>
                  <a:pt x="627" y="91"/>
                  <a:pt x="625" y="103"/>
                </a:cubicBezTo>
                <a:cubicBezTo>
                  <a:pt x="624" y="110"/>
                  <a:pt x="622" y="120"/>
                  <a:pt x="622" y="126"/>
                </a:cubicBezTo>
                <a:cubicBezTo>
                  <a:pt x="621" y="131"/>
                  <a:pt x="619" y="142"/>
                  <a:pt x="618" y="150"/>
                </a:cubicBezTo>
                <a:cubicBezTo>
                  <a:pt x="614" y="171"/>
                  <a:pt x="612" y="185"/>
                  <a:pt x="607" y="214"/>
                </a:cubicBezTo>
                <a:cubicBezTo>
                  <a:pt x="602" y="245"/>
                  <a:pt x="600" y="256"/>
                  <a:pt x="597" y="272"/>
                </a:cubicBezTo>
                <a:cubicBezTo>
                  <a:pt x="596" y="278"/>
                  <a:pt x="585" y="350"/>
                  <a:pt x="571" y="430"/>
                </a:cubicBezTo>
                <a:cubicBezTo>
                  <a:pt x="541" y="612"/>
                  <a:pt x="543" y="602"/>
                  <a:pt x="540" y="601"/>
                </a:cubicBezTo>
                <a:cubicBezTo>
                  <a:pt x="538" y="601"/>
                  <a:pt x="519" y="597"/>
                  <a:pt x="497" y="593"/>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446" name="Freeform 110"/>
          <p:cNvSpPr>
            <a:spLocks/>
          </p:cNvSpPr>
          <p:nvPr userDrawn="1"/>
        </p:nvSpPr>
        <p:spPr bwMode="black">
          <a:xfrm>
            <a:off x="596269" y="1889017"/>
            <a:ext cx="766763" cy="1185863"/>
          </a:xfrm>
          <a:custGeom>
            <a:avLst/>
            <a:gdLst>
              <a:gd name="T0" fmla="*/ 271 w 534"/>
              <a:gd name="T1" fmla="*/ 799 h 826"/>
              <a:gd name="T2" fmla="*/ 239 w 534"/>
              <a:gd name="T3" fmla="*/ 739 h 826"/>
              <a:gd name="T4" fmla="*/ 190 w 534"/>
              <a:gd name="T5" fmla="*/ 647 h 826"/>
              <a:gd name="T6" fmla="*/ 158 w 534"/>
              <a:gd name="T7" fmla="*/ 587 h 826"/>
              <a:gd name="T8" fmla="*/ 130 w 534"/>
              <a:gd name="T9" fmla="*/ 535 h 826"/>
              <a:gd name="T10" fmla="*/ 93 w 534"/>
              <a:gd name="T11" fmla="*/ 465 h 826"/>
              <a:gd name="T12" fmla="*/ 63 w 534"/>
              <a:gd name="T13" fmla="*/ 409 h 826"/>
              <a:gd name="T14" fmla="*/ 29 w 534"/>
              <a:gd name="T15" fmla="*/ 345 h 826"/>
              <a:gd name="T16" fmla="*/ 56 w 534"/>
              <a:gd name="T17" fmla="*/ 147 h 826"/>
              <a:gd name="T18" fmla="*/ 110 w 534"/>
              <a:gd name="T19" fmla="*/ 3 h 826"/>
              <a:gd name="T20" fmla="*/ 260 w 534"/>
              <a:gd name="T21" fmla="*/ 53 h 826"/>
              <a:gd name="T22" fmla="*/ 380 w 534"/>
              <a:gd name="T23" fmla="*/ 93 h 826"/>
              <a:gd name="T24" fmla="*/ 488 w 534"/>
              <a:gd name="T25" fmla="*/ 127 h 826"/>
              <a:gd name="T26" fmla="*/ 532 w 534"/>
              <a:gd name="T27" fmla="*/ 142 h 826"/>
              <a:gd name="T28" fmla="*/ 390 w 534"/>
              <a:gd name="T29" fmla="*/ 635 h 826"/>
              <a:gd name="T30" fmla="*/ 385 w 534"/>
              <a:gd name="T31" fmla="*/ 657 h 826"/>
              <a:gd name="T32" fmla="*/ 371 w 534"/>
              <a:gd name="T33" fmla="*/ 697 h 826"/>
              <a:gd name="T34" fmla="*/ 332 w 534"/>
              <a:gd name="T35" fmla="*/ 723 h 826"/>
              <a:gd name="T36" fmla="*/ 290 w 534"/>
              <a:gd name="T37" fmla="*/ 799 h 826"/>
              <a:gd name="T38" fmla="*/ 271 w 534"/>
              <a:gd name="T39" fmla="*/ 799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4" h="826">
                <a:moveTo>
                  <a:pt x="271" y="799"/>
                </a:moveTo>
                <a:cubicBezTo>
                  <a:pt x="264" y="786"/>
                  <a:pt x="249" y="758"/>
                  <a:pt x="239" y="739"/>
                </a:cubicBezTo>
                <a:cubicBezTo>
                  <a:pt x="228" y="719"/>
                  <a:pt x="206" y="677"/>
                  <a:pt x="190" y="647"/>
                </a:cubicBezTo>
                <a:cubicBezTo>
                  <a:pt x="174" y="616"/>
                  <a:pt x="160" y="589"/>
                  <a:pt x="158" y="587"/>
                </a:cubicBezTo>
                <a:cubicBezTo>
                  <a:pt x="156" y="584"/>
                  <a:pt x="144" y="561"/>
                  <a:pt x="130" y="535"/>
                </a:cubicBezTo>
                <a:cubicBezTo>
                  <a:pt x="116" y="508"/>
                  <a:pt x="100" y="477"/>
                  <a:pt x="93" y="465"/>
                </a:cubicBezTo>
                <a:cubicBezTo>
                  <a:pt x="86" y="452"/>
                  <a:pt x="73" y="427"/>
                  <a:pt x="63" y="409"/>
                </a:cubicBezTo>
                <a:cubicBezTo>
                  <a:pt x="53" y="390"/>
                  <a:pt x="38" y="361"/>
                  <a:pt x="29" y="345"/>
                </a:cubicBezTo>
                <a:cubicBezTo>
                  <a:pt x="2" y="294"/>
                  <a:pt x="0" y="305"/>
                  <a:pt x="56" y="147"/>
                </a:cubicBezTo>
                <a:cubicBezTo>
                  <a:pt x="84" y="70"/>
                  <a:pt x="108" y="5"/>
                  <a:pt x="110" y="3"/>
                </a:cubicBezTo>
                <a:cubicBezTo>
                  <a:pt x="113" y="0"/>
                  <a:pt x="149" y="11"/>
                  <a:pt x="260" y="53"/>
                </a:cubicBezTo>
                <a:cubicBezTo>
                  <a:pt x="291" y="64"/>
                  <a:pt x="345" y="82"/>
                  <a:pt x="380" y="93"/>
                </a:cubicBezTo>
                <a:cubicBezTo>
                  <a:pt x="415" y="104"/>
                  <a:pt x="464" y="119"/>
                  <a:pt x="488" y="127"/>
                </a:cubicBezTo>
                <a:cubicBezTo>
                  <a:pt x="512" y="134"/>
                  <a:pt x="532" y="141"/>
                  <a:pt x="532" y="142"/>
                </a:cubicBezTo>
                <a:cubicBezTo>
                  <a:pt x="534" y="143"/>
                  <a:pt x="402" y="601"/>
                  <a:pt x="390" y="635"/>
                </a:cubicBezTo>
                <a:cubicBezTo>
                  <a:pt x="388" y="641"/>
                  <a:pt x="386" y="651"/>
                  <a:pt x="385" y="657"/>
                </a:cubicBezTo>
                <a:cubicBezTo>
                  <a:pt x="384" y="662"/>
                  <a:pt x="378" y="680"/>
                  <a:pt x="371" y="697"/>
                </a:cubicBezTo>
                <a:cubicBezTo>
                  <a:pt x="359" y="728"/>
                  <a:pt x="361" y="727"/>
                  <a:pt x="332" y="723"/>
                </a:cubicBezTo>
                <a:cubicBezTo>
                  <a:pt x="309" y="720"/>
                  <a:pt x="291" y="753"/>
                  <a:pt x="290" y="799"/>
                </a:cubicBezTo>
                <a:cubicBezTo>
                  <a:pt x="290" y="826"/>
                  <a:pt x="285" y="826"/>
                  <a:pt x="271" y="799"/>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512" name="Freeform 111"/>
          <p:cNvSpPr>
            <a:spLocks/>
          </p:cNvSpPr>
          <p:nvPr userDrawn="1"/>
        </p:nvSpPr>
        <p:spPr bwMode="black">
          <a:xfrm>
            <a:off x="5120645" y="1838215"/>
            <a:ext cx="860425" cy="661988"/>
          </a:xfrm>
          <a:custGeom>
            <a:avLst/>
            <a:gdLst>
              <a:gd name="T0" fmla="*/ 482 w 598"/>
              <a:gd name="T1" fmla="*/ 454 h 461"/>
              <a:gd name="T2" fmla="*/ 482 w 598"/>
              <a:gd name="T3" fmla="*/ 437 h 461"/>
              <a:gd name="T4" fmla="*/ 426 w 598"/>
              <a:gd name="T5" fmla="*/ 392 h 461"/>
              <a:gd name="T6" fmla="*/ 348 w 598"/>
              <a:gd name="T7" fmla="*/ 336 h 461"/>
              <a:gd name="T8" fmla="*/ 333 w 598"/>
              <a:gd name="T9" fmla="*/ 319 h 461"/>
              <a:gd name="T10" fmla="*/ 265 w 598"/>
              <a:gd name="T11" fmla="*/ 329 h 461"/>
              <a:gd name="T12" fmla="*/ 187 w 598"/>
              <a:gd name="T13" fmla="*/ 341 h 461"/>
              <a:gd name="T14" fmla="*/ 97 w 598"/>
              <a:gd name="T15" fmla="*/ 355 h 461"/>
              <a:gd name="T16" fmla="*/ 11 w 598"/>
              <a:gd name="T17" fmla="*/ 370 h 461"/>
              <a:gd name="T18" fmla="*/ 2 w 598"/>
              <a:gd name="T19" fmla="*/ 363 h 461"/>
              <a:gd name="T20" fmla="*/ 46 w 598"/>
              <a:gd name="T21" fmla="*/ 301 h 461"/>
              <a:gd name="T22" fmla="*/ 59 w 598"/>
              <a:gd name="T23" fmla="*/ 283 h 461"/>
              <a:gd name="T24" fmla="*/ 49 w 598"/>
              <a:gd name="T25" fmla="*/ 260 h 461"/>
              <a:gd name="T26" fmla="*/ 46 w 598"/>
              <a:gd name="T27" fmla="*/ 231 h 461"/>
              <a:gd name="T28" fmla="*/ 60 w 598"/>
              <a:gd name="T29" fmla="*/ 226 h 461"/>
              <a:gd name="T30" fmla="*/ 124 w 598"/>
              <a:gd name="T31" fmla="*/ 220 h 461"/>
              <a:gd name="T32" fmla="*/ 211 w 598"/>
              <a:gd name="T33" fmla="*/ 201 h 461"/>
              <a:gd name="T34" fmla="*/ 230 w 598"/>
              <a:gd name="T35" fmla="*/ 140 h 461"/>
              <a:gd name="T36" fmla="*/ 224 w 598"/>
              <a:gd name="T37" fmla="*/ 117 h 461"/>
              <a:gd name="T38" fmla="*/ 247 w 598"/>
              <a:gd name="T39" fmla="*/ 89 h 461"/>
              <a:gd name="T40" fmla="*/ 280 w 598"/>
              <a:gd name="T41" fmla="*/ 50 h 461"/>
              <a:gd name="T42" fmla="*/ 309 w 598"/>
              <a:gd name="T43" fmla="*/ 21 h 461"/>
              <a:gd name="T44" fmla="*/ 331 w 598"/>
              <a:gd name="T45" fmla="*/ 4 h 461"/>
              <a:gd name="T46" fmla="*/ 364 w 598"/>
              <a:gd name="T47" fmla="*/ 4 h 461"/>
              <a:gd name="T48" fmla="*/ 406 w 598"/>
              <a:gd name="T49" fmla="*/ 2 h 461"/>
              <a:gd name="T50" fmla="*/ 419 w 598"/>
              <a:gd name="T51" fmla="*/ 12 h 461"/>
              <a:gd name="T52" fmla="*/ 428 w 598"/>
              <a:gd name="T53" fmla="*/ 82 h 461"/>
              <a:gd name="T54" fmla="*/ 440 w 598"/>
              <a:gd name="T55" fmla="*/ 123 h 461"/>
              <a:gd name="T56" fmla="*/ 474 w 598"/>
              <a:gd name="T57" fmla="*/ 300 h 461"/>
              <a:gd name="T58" fmla="*/ 478 w 598"/>
              <a:gd name="T59" fmla="*/ 360 h 461"/>
              <a:gd name="T60" fmla="*/ 483 w 598"/>
              <a:gd name="T61" fmla="*/ 389 h 461"/>
              <a:gd name="T62" fmla="*/ 487 w 598"/>
              <a:gd name="T63" fmla="*/ 400 h 461"/>
              <a:gd name="T64" fmla="*/ 487 w 598"/>
              <a:gd name="T65" fmla="*/ 409 h 461"/>
              <a:gd name="T66" fmla="*/ 487 w 598"/>
              <a:gd name="T67" fmla="*/ 422 h 461"/>
              <a:gd name="T68" fmla="*/ 491 w 598"/>
              <a:gd name="T69" fmla="*/ 420 h 461"/>
              <a:gd name="T70" fmla="*/ 527 w 598"/>
              <a:gd name="T71" fmla="*/ 405 h 461"/>
              <a:gd name="T72" fmla="*/ 553 w 598"/>
              <a:gd name="T73" fmla="*/ 394 h 461"/>
              <a:gd name="T74" fmla="*/ 596 w 598"/>
              <a:gd name="T75" fmla="*/ 381 h 461"/>
              <a:gd name="T76" fmla="*/ 588 w 598"/>
              <a:gd name="T77" fmla="*/ 395 h 461"/>
              <a:gd name="T78" fmla="*/ 563 w 598"/>
              <a:gd name="T79" fmla="*/ 418 h 461"/>
              <a:gd name="T80" fmla="*/ 482 w 598"/>
              <a:gd name="T81" fmla="*/ 454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98" h="461">
                <a:moveTo>
                  <a:pt x="482" y="454"/>
                </a:moveTo>
                <a:cubicBezTo>
                  <a:pt x="481" y="452"/>
                  <a:pt x="481" y="444"/>
                  <a:pt x="482" y="437"/>
                </a:cubicBezTo>
                <a:cubicBezTo>
                  <a:pt x="485" y="418"/>
                  <a:pt x="471" y="406"/>
                  <a:pt x="426" y="392"/>
                </a:cubicBezTo>
                <a:cubicBezTo>
                  <a:pt x="386" y="378"/>
                  <a:pt x="382" y="376"/>
                  <a:pt x="348" y="336"/>
                </a:cubicBezTo>
                <a:cubicBezTo>
                  <a:pt x="333" y="319"/>
                  <a:pt x="333" y="319"/>
                  <a:pt x="333" y="319"/>
                </a:cubicBezTo>
                <a:cubicBezTo>
                  <a:pt x="265" y="329"/>
                  <a:pt x="265" y="329"/>
                  <a:pt x="265" y="329"/>
                </a:cubicBezTo>
                <a:cubicBezTo>
                  <a:pt x="228" y="335"/>
                  <a:pt x="193" y="340"/>
                  <a:pt x="187" y="341"/>
                </a:cubicBezTo>
                <a:cubicBezTo>
                  <a:pt x="182" y="342"/>
                  <a:pt x="141" y="349"/>
                  <a:pt x="97" y="355"/>
                </a:cubicBezTo>
                <a:cubicBezTo>
                  <a:pt x="53" y="362"/>
                  <a:pt x="14" y="369"/>
                  <a:pt x="11" y="370"/>
                </a:cubicBezTo>
                <a:cubicBezTo>
                  <a:pt x="6" y="371"/>
                  <a:pt x="3" y="369"/>
                  <a:pt x="2" y="363"/>
                </a:cubicBezTo>
                <a:cubicBezTo>
                  <a:pt x="0" y="354"/>
                  <a:pt x="11" y="338"/>
                  <a:pt x="46" y="301"/>
                </a:cubicBezTo>
                <a:cubicBezTo>
                  <a:pt x="53" y="294"/>
                  <a:pt x="59" y="285"/>
                  <a:pt x="59" y="283"/>
                </a:cubicBezTo>
                <a:cubicBezTo>
                  <a:pt x="59" y="281"/>
                  <a:pt x="55" y="270"/>
                  <a:pt x="49" y="260"/>
                </a:cubicBezTo>
                <a:cubicBezTo>
                  <a:pt x="37" y="236"/>
                  <a:pt x="37" y="232"/>
                  <a:pt x="46" y="231"/>
                </a:cubicBezTo>
                <a:cubicBezTo>
                  <a:pt x="50" y="231"/>
                  <a:pt x="56" y="229"/>
                  <a:pt x="60" y="226"/>
                </a:cubicBezTo>
                <a:cubicBezTo>
                  <a:pt x="66" y="222"/>
                  <a:pt x="83" y="220"/>
                  <a:pt x="124" y="220"/>
                </a:cubicBezTo>
                <a:cubicBezTo>
                  <a:pt x="184" y="219"/>
                  <a:pt x="191" y="218"/>
                  <a:pt x="211" y="201"/>
                </a:cubicBezTo>
                <a:cubicBezTo>
                  <a:pt x="231" y="184"/>
                  <a:pt x="236" y="168"/>
                  <a:pt x="230" y="140"/>
                </a:cubicBezTo>
                <a:cubicBezTo>
                  <a:pt x="224" y="117"/>
                  <a:pt x="224" y="117"/>
                  <a:pt x="224" y="117"/>
                </a:cubicBezTo>
                <a:cubicBezTo>
                  <a:pt x="247" y="89"/>
                  <a:pt x="247" y="89"/>
                  <a:pt x="247" y="89"/>
                </a:cubicBezTo>
                <a:cubicBezTo>
                  <a:pt x="260" y="75"/>
                  <a:pt x="275" y="57"/>
                  <a:pt x="280" y="50"/>
                </a:cubicBezTo>
                <a:cubicBezTo>
                  <a:pt x="284" y="43"/>
                  <a:pt x="298" y="30"/>
                  <a:pt x="309" y="21"/>
                </a:cubicBezTo>
                <a:cubicBezTo>
                  <a:pt x="331" y="4"/>
                  <a:pt x="331" y="4"/>
                  <a:pt x="331" y="4"/>
                </a:cubicBezTo>
                <a:cubicBezTo>
                  <a:pt x="364" y="4"/>
                  <a:pt x="364" y="4"/>
                  <a:pt x="364" y="4"/>
                </a:cubicBezTo>
                <a:cubicBezTo>
                  <a:pt x="382" y="5"/>
                  <a:pt x="401" y="4"/>
                  <a:pt x="406" y="2"/>
                </a:cubicBezTo>
                <a:cubicBezTo>
                  <a:pt x="413" y="0"/>
                  <a:pt x="415" y="1"/>
                  <a:pt x="419" y="12"/>
                </a:cubicBezTo>
                <a:cubicBezTo>
                  <a:pt x="425" y="33"/>
                  <a:pt x="428" y="51"/>
                  <a:pt x="428" y="82"/>
                </a:cubicBezTo>
                <a:cubicBezTo>
                  <a:pt x="429" y="106"/>
                  <a:pt x="431" y="112"/>
                  <a:pt x="440" y="123"/>
                </a:cubicBezTo>
                <a:cubicBezTo>
                  <a:pt x="460" y="147"/>
                  <a:pt x="477" y="236"/>
                  <a:pt x="474" y="300"/>
                </a:cubicBezTo>
                <a:cubicBezTo>
                  <a:pt x="473" y="329"/>
                  <a:pt x="474" y="347"/>
                  <a:pt x="478" y="360"/>
                </a:cubicBezTo>
                <a:cubicBezTo>
                  <a:pt x="481" y="369"/>
                  <a:pt x="483" y="383"/>
                  <a:pt x="483" y="389"/>
                </a:cubicBezTo>
                <a:cubicBezTo>
                  <a:pt x="483" y="395"/>
                  <a:pt x="485" y="400"/>
                  <a:pt x="487" y="400"/>
                </a:cubicBezTo>
                <a:cubicBezTo>
                  <a:pt x="490" y="400"/>
                  <a:pt x="490" y="403"/>
                  <a:pt x="487" y="409"/>
                </a:cubicBezTo>
                <a:cubicBezTo>
                  <a:pt x="485" y="416"/>
                  <a:pt x="485" y="420"/>
                  <a:pt x="487" y="422"/>
                </a:cubicBezTo>
                <a:cubicBezTo>
                  <a:pt x="489" y="423"/>
                  <a:pt x="491" y="422"/>
                  <a:pt x="491" y="420"/>
                </a:cubicBezTo>
                <a:cubicBezTo>
                  <a:pt x="491" y="415"/>
                  <a:pt x="510" y="407"/>
                  <a:pt x="527" y="405"/>
                </a:cubicBezTo>
                <a:cubicBezTo>
                  <a:pt x="535" y="404"/>
                  <a:pt x="547" y="399"/>
                  <a:pt x="553" y="394"/>
                </a:cubicBezTo>
                <a:cubicBezTo>
                  <a:pt x="571" y="381"/>
                  <a:pt x="592" y="374"/>
                  <a:pt x="596" y="381"/>
                </a:cubicBezTo>
                <a:cubicBezTo>
                  <a:pt x="598" y="384"/>
                  <a:pt x="595" y="389"/>
                  <a:pt x="588" y="395"/>
                </a:cubicBezTo>
                <a:cubicBezTo>
                  <a:pt x="582" y="400"/>
                  <a:pt x="571" y="411"/>
                  <a:pt x="563" y="418"/>
                </a:cubicBezTo>
                <a:cubicBezTo>
                  <a:pt x="546" y="434"/>
                  <a:pt x="484" y="461"/>
                  <a:pt x="482" y="454"/>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513" name="Freeform 112"/>
          <p:cNvSpPr>
            <a:spLocks/>
          </p:cNvSpPr>
          <p:nvPr userDrawn="1"/>
        </p:nvSpPr>
        <p:spPr bwMode="black">
          <a:xfrm>
            <a:off x="4579307" y="2395428"/>
            <a:ext cx="457200" cy="557213"/>
          </a:xfrm>
          <a:custGeom>
            <a:avLst/>
            <a:gdLst>
              <a:gd name="T0" fmla="*/ 186 w 319"/>
              <a:gd name="T1" fmla="*/ 378 h 387"/>
              <a:gd name="T2" fmla="*/ 146 w 319"/>
              <a:gd name="T3" fmla="*/ 370 h 387"/>
              <a:gd name="T4" fmla="*/ 59 w 319"/>
              <a:gd name="T5" fmla="*/ 353 h 387"/>
              <a:gd name="T6" fmla="*/ 30 w 319"/>
              <a:gd name="T7" fmla="*/ 341 h 387"/>
              <a:gd name="T8" fmla="*/ 12 w 319"/>
              <a:gd name="T9" fmla="*/ 324 h 387"/>
              <a:gd name="T10" fmla="*/ 10 w 319"/>
              <a:gd name="T11" fmla="*/ 278 h 387"/>
              <a:gd name="T12" fmla="*/ 6 w 319"/>
              <a:gd name="T13" fmla="*/ 197 h 387"/>
              <a:gd name="T14" fmla="*/ 2 w 319"/>
              <a:gd name="T15" fmla="*/ 108 h 387"/>
              <a:gd name="T16" fmla="*/ 5 w 319"/>
              <a:gd name="T17" fmla="*/ 67 h 387"/>
              <a:gd name="T18" fmla="*/ 20 w 319"/>
              <a:gd name="T19" fmla="*/ 66 h 387"/>
              <a:gd name="T20" fmla="*/ 70 w 319"/>
              <a:gd name="T21" fmla="*/ 62 h 387"/>
              <a:gd name="T22" fmla="*/ 112 w 319"/>
              <a:gd name="T23" fmla="*/ 59 h 387"/>
              <a:gd name="T24" fmla="*/ 138 w 319"/>
              <a:gd name="T25" fmla="*/ 70 h 387"/>
              <a:gd name="T26" fmla="*/ 196 w 319"/>
              <a:gd name="T27" fmla="*/ 74 h 387"/>
              <a:gd name="T28" fmla="*/ 220 w 319"/>
              <a:gd name="T29" fmla="*/ 62 h 387"/>
              <a:gd name="T30" fmla="*/ 246 w 319"/>
              <a:gd name="T31" fmla="*/ 48 h 387"/>
              <a:gd name="T32" fmla="*/ 312 w 319"/>
              <a:gd name="T33" fmla="*/ 6 h 387"/>
              <a:gd name="T34" fmla="*/ 311 w 319"/>
              <a:gd name="T35" fmla="*/ 224 h 387"/>
              <a:gd name="T36" fmla="*/ 302 w 319"/>
              <a:gd name="T37" fmla="*/ 251 h 387"/>
              <a:gd name="T38" fmla="*/ 277 w 319"/>
              <a:gd name="T39" fmla="*/ 282 h 387"/>
              <a:gd name="T40" fmla="*/ 242 w 319"/>
              <a:gd name="T41" fmla="*/ 326 h 387"/>
              <a:gd name="T42" fmla="*/ 228 w 319"/>
              <a:gd name="T43" fmla="*/ 342 h 387"/>
              <a:gd name="T44" fmla="*/ 214 w 319"/>
              <a:gd name="T45" fmla="*/ 355 h 387"/>
              <a:gd name="T46" fmla="*/ 198 w 319"/>
              <a:gd name="T47" fmla="*/ 386 h 387"/>
              <a:gd name="T48" fmla="*/ 186 w 319"/>
              <a:gd name="T49" fmla="*/ 378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9" h="387">
                <a:moveTo>
                  <a:pt x="186" y="378"/>
                </a:moveTo>
                <a:cubicBezTo>
                  <a:pt x="179" y="369"/>
                  <a:pt x="177" y="368"/>
                  <a:pt x="146" y="370"/>
                </a:cubicBezTo>
                <a:cubicBezTo>
                  <a:pt x="106" y="373"/>
                  <a:pt x="74" y="367"/>
                  <a:pt x="59" y="353"/>
                </a:cubicBezTo>
                <a:cubicBezTo>
                  <a:pt x="52" y="346"/>
                  <a:pt x="43" y="342"/>
                  <a:pt x="30" y="341"/>
                </a:cubicBezTo>
                <a:cubicBezTo>
                  <a:pt x="13" y="339"/>
                  <a:pt x="12" y="338"/>
                  <a:pt x="12" y="324"/>
                </a:cubicBezTo>
                <a:cubicBezTo>
                  <a:pt x="12" y="316"/>
                  <a:pt x="11" y="295"/>
                  <a:pt x="10" y="278"/>
                </a:cubicBezTo>
                <a:cubicBezTo>
                  <a:pt x="9" y="260"/>
                  <a:pt x="8" y="224"/>
                  <a:pt x="6" y="197"/>
                </a:cubicBezTo>
                <a:cubicBezTo>
                  <a:pt x="5" y="170"/>
                  <a:pt x="3" y="130"/>
                  <a:pt x="2" y="108"/>
                </a:cubicBezTo>
                <a:cubicBezTo>
                  <a:pt x="0" y="76"/>
                  <a:pt x="0" y="67"/>
                  <a:pt x="5" y="67"/>
                </a:cubicBezTo>
                <a:cubicBezTo>
                  <a:pt x="8" y="67"/>
                  <a:pt x="15" y="66"/>
                  <a:pt x="20" y="66"/>
                </a:cubicBezTo>
                <a:cubicBezTo>
                  <a:pt x="26" y="65"/>
                  <a:pt x="48" y="63"/>
                  <a:pt x="70" y="62"/>
                </a:cubicBezTo>
                <a:cubicBezTo>
                  <a:pt x="92" y="60"/>
                  <a:pt x="111" y="59"/>
                  <a:pt x="112" y="59"/>
                </a:cubicBezTo>
                <a:cubicBezTo>
                  <a:pt x="113" y="58"/>
                  <a:pt x="125" y="63"/>
                  <a:pt x="138" y="70"/>
                </a:cubicBezTo>
                <a:cubicBezTo>
                  <a:pt x="163" y="82"/>
                  <a:pt x="185" y="83"/>
                  <a:pt x="196" y="74"/>
                </a:cubicBezTo>
                <a:cubicBezTo>
                  <a:pt x="199" y="71"/>
                  <a:pt x="210" y="66"/>
                  <a:pt x="220" y="62"/>
                </a:cubicBezTo>
                <a:cubicBezTo>
                  <a:pt x="231" y="58"/>
                  <a:pt x="242" y="52"/>
                  <a:pt x="246" y="48"/>
                </a:cubicBezTo>
                <a:cubicBezTo>
                  <a:pt x="272" y="25"/>
                  <a:pt x="312" y="0"/>
                  <a:pt x="312" y="6"/>
                </a:cubicBezTo>
                <a:cubicBezTo>
                  <a:pt x="319" y="69"/>
                  <a:pt x="319" y="162"/>
                  <a:pt x="311" y="224"/>
                </a:cubicBezTo>
                <a:cubicBezTo>
                  <a:pt x="310" y="227"/>
                  <a:pt x="306" y="239"/>
                  <a:pt x="302" y="251"/>
                </a:cubicBezTo>
                <a:cubicBezTo>
                  <a:pt x="296" y="268"/>
                  <a:pt x="291" y="274"/>
                  <a:pt x="277" y="282"/>
                </a:cubicBezTo>
                <a:cubicBezTo>
                  <a:pt x="258" y="294"/>
                  <a:pt x="246" y="308"/>
                  <a:pt x="242" y="326"/>
                </a:cubicBezTo>
                <a:cubicBezTo>
                  <a:pt x="240" y="336"/>
                  <a:pt x="237" y="340"/>
                  <a:pt x="228" y="342"/>
                </a:cubicBezTo>
                <a:cubicBezTo>
                  <a:pt x="219" y="343"/>
                  <a:pt x="216" y="347"/>
                  <a:pt x="214" y="355"/>
                </a:cubicBezTo>
                <a:cubicBezTo>
                  <a:pt x="211" y="369"/>
                  <a:pt x="203" y="385"/>
                  <a:pt x="198" y="386"/>
                </a:cubicBezTo>
                <a:cubicBezTo>
                  <a:pt x="196" y="387"/>
                  <a:pt x="191" y="383"/>
                  <a:pt x="186" y="378"/>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514" name="Freeform 113"/>
          <p:cNvSpPr>
            <a:spLocks/>
          </p:cNvSpPr>
          <p:nvPr userDrawn="1"/>
        </p:nvSpPr>
        <p:spPr bwMode="black">
          <a:xfrm>
            <a:off x="2456819" y="3133618"/>
            <a:ext cx="977900" cy="587375"/>
          </a:xfrm>
          <a:custGeom>
            <a:avLst/>
            <a:gdLst>
              <a:gd name="T0" fmla="*/ 646 w 681"/>
              <a:gd name="T1" fmla="*/ 394 h 409"/>
              <a:gd name="T2" fmla="*/ 604 w 681"/>
              <a:gd name="T3" fmla="*/ 379 h 409"/>
              <a:gd name="T4" fmla="*/ 526 w 681"/>
              <a:gd name="T5" fmla="*/ 381 h 409"/>
              <a:gd name="T6" fmla="*/ 444 w 681"/>
              <a:gd name="T7" fmla="*/ 376 h 409"/>
              <a:gd name="T8" fmla="*/ 412 w 681"/>
              <a:gd name="T9" fmla="*/ 368 h 409"/>
              <a:gd name="T10" fmla="*/ 381 w 681"/>
              <a:gd name="T11" fmla="*/ 350 h 409"/>
              <a:gd name="T12" fmla="*/ 345 w 681"/>
              <a:gd name="T13" fmla="*/ 333 h 409"/>
              <a:gd name="T14" fmla="*/ 279 w 681"/>
              <a:gd name="T15" fmla="*/ 311 h 409"/>
              <a:gd name="T16" fmla="*/ 246 w 681"/>
              <a:gd name="T17" fmla="*/ 292 h 409"/>
              <a:gd name="T18" fmla="*/ 223 w 681"/>
              <a:gd name="T19" fmla="*/ 285 h 409"/>
              <a:gd name="T20" fmla="*/ 226 w 681"/>
              <a:gd name="T21" fmla="*/ 265 h 409"/>
              <a:gd name="T22" fmla="*/ 230 w 681"/>
              <a:gd name="T23" fmla="*/ 217 h 409"/>
              <a:gd name="T24" fmla="*/ 234 w 681"/>
              <a:gd name="T25" fmla="*/ 175 h 409"/>
              <a:gd name="T26" fmla="*/ 238 w 681"/>
              <a:gd name="T27" fmla="*/ 129 h 409"/>
              <a:gd name="T28" fmla="*/ 243 w 681"/>
              <a:gd name="T29" fmla="*/ 86 h 409"/>
              <a:gd name="T30" fmla="*/ 224 w 681"/>
              <a:gd name="T31" fmla="*/ 69 h 409"/>
              <a:gd name="T32" fmla="*/ 50 w 681"/>
              <a:gd name="T33" fmla="*/ 46 h 409"/>
              <a:gd name="T34" fmla="*/ 6 w 681"/>
              <a:gd name="T35" fmla="*/ 20 h 409"/>
              <a:gd name="T36" fmla="*/ 9 w 681"/>
              <a:gd name="T37" fmla="*/ 0 h 409"/>
              <a:gd name="T38" fmla="*/ 38 w 681"/>
              <a:gd name="T39" fmla="*/ 4 h 409"/>
              <a:gd name="T40" fmla="*/ 98 w 681"/>
              <a:gd name="T41" fmla="*/ 12 h 409"/>
              <a:gd name="T42" fmla="*/ 148 w 681"/>
              <a:gd name="T43" fmla="*/ 17 h 409"/>
              <a:gd name="T44" fmla="*/ 192 w 681"/>
              <a:gd name="T45" fmla="*/ 21 h 409"/>
              <a:gd name="T46" fmla="*/ 236 w 681"/>
              <a:gd name="T47" fmla="*/ 25 h 409"/>
              <a:gd name="T48" fmla="*/ 280 w 681"/>
              <a:gd name="T49" fmla="*/ 29 h 409"/>
              <a:gd name="T50" fmla="*/ 324 w 681"/>
              <a:gd name="T51" fmla="*/ 33 h 409"/>
              <a:gd name="T52" fmla="*/ 372 w 681"/>
              <a:gd name="T53" fmla="*/ 37 h 409"/>
              <a:gd name="T54" fmla="*/ 416 w 681"/>
              <a:gd name="T55" fmla="*/ 41 h 409"/>
              <a:gd name="T56" fmla="*/ 460 w 681"/>
              <a:gd name="T57" fmla="*/ 45 h 409"/>
              <a:gd name="T58" fmla="*/ 504 w 681"/>
              <a:gd name="T59" fmla="*/ 49 h 409"/>
              <a:gd name="T60" fmla="*/ 552 w 681"/>
              <a:gd name="T61" fmla="*/ 53 h 409"/>
              <a:gd name="T62" fmla="*/ 596 w 681"/>
              <a:gd name="T63" fmla="*/ 57 h 409"/>
              <a:gd name="T64" fmla="*/ 640 w 681"/>
              <a:gd name="T65" fmla="*/ 61 h 409"/>
              <a:gd name="T66" fmla="*/ 675 w 681"/>
              <a:gd name="T67" fmla="*/ 64 h 409"/>
              <a:gd name="T68" fmla="*/ 680 w 681"/>
              <a:gd name="T69" fmla="*/ 227 h 409"/>
              <a:gd name="T70" fmla="*/ 676 w 681"/>
              <a:gd name="T71" fmla="*/ 408 h 409"/>
              <a:gd name="T72" fmla="*/ 646 w 681"/>
              <a:gd name="T73" fmla="*/ 394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81" h="409">
                <a:moveTo>
                  <a:pt x="646" y="394"/>
                </a:moveTo>
                <a:cubicBezTo>
                  <a:pt x="629" y="385"/>
                  <a:pt x="612" y="379"/>
                  <a:pt x="604" y="379"/>
                </a:cubicBezTo>
                <a:cubicBezTo>
                  <a:pt x="596" y="379"/>
                  <a:pt x="561" y="380"/>
                  <a:pt x="526" y="381"/>
                </a:cubicBezTo>
                <a:cubicBezTo>
                  <a:pt x="472" y="383"/>
                  <a:pt x="459" y="382"/>
                  <a:pt x="444" y="376"/>
                </a:cubicBezTo>
                <a:cubicBezTo>
                  <a:pt x="434" y="373"/>
                  <a:pt x="420" y="369"/>
                  <a:pt x="412" y="368"/>
                </a:cubicBezTo>
                <a:cubicBezTo>
                  <a:pt x="404" y="366"/>
                  <a:pt x="391" y="359"/>
                  <a:pt x="381" y="350"/>
                </a:cubicBezTo>
                <a:cubicBezTo>
                  <a:pt x="368" y="339"/>
                  <a:pt x="359" y="334"/>
                  <a:pt x="345" y="333"/>
                </a:cubicBezTo>
                <a:cubicBezTo>
                  <a:pt x="307" y="328"/>
                  <a:pt x="290" y="322"/>
                  <a:pt x="279" y="311"/>
                </a:cubicBezTo>
                <a:cubicBezTo>
                  <a:pt x="273" y="304"/>
                  <a:pt x="259" y="296"/>
                  <a:pt x="246" y="292"/>
                </a:cubicBezTo>
                <a:cubicBezTo>
                  <a:pt x="223" y="285"/>
                  <a:pt x="223" y="285"/>
                  <a:pt x="223" y="285"/>
                </a:cubicBezTo>
                <a:cubicBezTo>
                  <a:pt x="226" y="265"/>
                  <a:pt x="226" y="265"/>
                  <a:pt x="226" y="265"/>
                </a:cubicBezTo>
                <a:cubicBezTo>
                  <a:pt x="227" y="254"/>
                  <a:pt x="229" y="232"/>
                  <a:pt x="230" y="217"/>
                </a:cubicBezTo>
                <a:cubicBezTo>
                  <a:pt x="231" y="201"/>
                  <a:pt x="233" y="182"/>
                  <a:pt x="234" y="175"/>
                </a:cubicBezTo>
                <a:cubicBezTo>
                  <a:pt x="235" y="167"/>
                  <a:pt x="237" y="146"/>
                  <a:pt x="238" y="129"/>
                </a:cubicBezTo>
                <a:cubicBezTo>
                  <a:pt x="240" y="111"/>
                  <a:pt x="241" y="92"/>
                  <a:pt x="243" y="86"/>
                </a:cubicBezTo>
                <a:cubicBezTo>
                  <a:pt x="245" y="74"/>
                  <a:pt x="242" y="71"/>
                  <a:pt x="224" y="69"/>
                </a:cubicBezTo>
                <a:cubicBezTo>
                  <a:pt x="202" y="66"/>
                  <a:pt x="89" y="51"/>
                  <a:pt x="50" y="46"/>
                </a:cubicBezTo>
                <a:cubicBezTo>
                  <a:pt x="0" y="40"/>
                  <a:pt x="3" y="41"/>
                  <a:pt x="6" y="20"/>
                </a:cubicBezTo>
                <a:cubicBezTo>
                  <a:pt x="7" y="10"/>
                  <a:pt x="9" y="1"/>
                  <a:pt x="9" y="0"/>
                </a:cubicBezTo>
                <a:cubicBezTo>
                  <a:pt x="10" y="0"/>
                  <a:pt x="23" y="2"/>
                  <a:pt x="38" y="4"/>
                </a:cubicBezTo>
                <a:cubicBezTo>
                  <a:pt x="54" y="7"/>
                  <a:pt x="81" y="11"/>
                  <a:pt x="98" y="12"/>
                </a:cubicBezTo>
                <a:cubicBezTo>
                  <a:pt x="116" y="14"/>
                  <a:pt x="138" y="16"/>
                  <a:pt x="148" y="17"/>
                </a:cubicBezTo>
                <a:cubicBezTo>
                  <a:pt x="158" y="17"/>
                  <a:pt x="178" y="19"/>
                  <a:pt x="192" y="21"/>
                </a:cubicBezTo>
                <a:cubicBezTo>
                  <a:pt x="206" y="22"/>
                  <a:pt x="226" y="24"/>
                  <a:pt x="236" y="25"/>
                </a:cubicBezTo>
                <a:cubicBezTo>
                  <a:pt x="246" y="25"/>
                  <a:pt x="266" y="27"/>
                  <a:pt x="280" y="29"/>
                </a:cubicBezTo>
                <a:cubicBezTo>
                  <a:pt x="294" y="30"/>
                  <a:pt x="314" y="32"/>
                  <a:pt x="324" y="33"/>
                </a:cubicBezTo>
                <a:cubicBezTo>
                  <a:pt x="334" y="33"/>
                  <a:pt x="356" y="35"/>
                  <a:pt x="372" y="37"/>
                </a:cubicBezTo>
                <a:cubicBezTo>
                  <a:pt x="389" y="38"/>
                  <a:pt x="408" y="40"/>
                  <a:pt x="416" y="41"/>
                </a:cubicBezTo>
                <a:cubicBezTo>
                  <a:pt x="424" y="41"/>
                  <a:pt x="444" y="43"/>
                  <a:pt x="460" y="45"/>
                </a:cubicBezTo>
                <a:cubicBezTo>
                  <a:pt x="477" y="46"/>
                  <a:pt x="496" y="48"/>
                  <a:pt x="504" y="49"/>
                </a:cubicBezTo>
                <a:cubicBezTo>
                  <a:pt x="512" y="49"/>
                  <a:pt x="533" y="51"/>
                  <a:pt x="552" y="53"/>
                </a:cubicBezTo>
                <a:cubicBezTo>
                  <a:pt x="571" y="54"/>
                  <a:pt x="591" y="56"/>
                  <a:pt x="596" y="57"/>
                </a:cubicBezTo>
                <a:cubicBezTo>
                  <a:pt x="602" y="57"/>
                  <a:pt x="621" y="59"/>
                  <a:pt x="640" y="61"/>
                </a:cubicBezTo>
                <a:cubicBezTo>
                  <a:pt x="659" y="62"/>
                  <a:pt x="674" y="64"/>
                  <a:pt x="675" y="64"/>
                </a:cubicBezTo>
                <a:cubicBezTo>
                  <a:pt x="677" y="66"/>
                  <a:pt x="681" y="183"/>
                  <a:pt x="680" y="227"/>
                </a:cubicBezTo>
                <a:cubicBezTo>
                  <a:pt x="679" y="333"/>
                  <a:pt x="677" y="407"/>
                  <a:pt x="676" y="408"/>
                </a:cubicBezTo>
                <a:cubicBezTo>
                  <a:pt x="675" y="409"/>
                  <a:pt x="661" y="402"/>
                  <a:pt x="646" y="394"/>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515" name="Freeform 114"/>
          <p:cNvSpPr>
            <a:spLocks/>
          </p:cNvSpPr>
          <p:nvPr userDrawn="1"/>
        </p:nvSpPr>
        <p:spPr bwMode="black">
          <a:xfrm>
            <a:off x="288294" y="1138129"/>
            <a:ext cx="962025" cy="833439"/>
          </a:xfrm>
          <a:custGeom>
            <a:avLst/>
            <a:gdLst>
              <a:gd name="T0" fmla="*/ 418 w 669"/>
              <a:gd name="T1" fmla="*/ 541 h 580"/>
              <a:gd name="T2" fmla="*/ 272 w 669"/>
              <a:gd name="T3" fmla="*/ 488 h 580"/>
              <a:gd name="T4" fmla="*/ 20 w 669"/>
              <a:gd name="T5" fmla="*/ 397 h 580"/>
              <a:gd name="T6" fmla="*/ 1 w 669"/>
              <a:gd name="T7" fmla="*/ 389 h 580"/>
              <a:gd name="T8" fmla="*/ 4 w 669"/>
              <a:gd name="T9" fmla="*/ 375 h 580"/>
              <a:gd name="T10" fmla="*/ 10 w 669"/>
              <a:gd name="T11" fmla="*/ 345 h 580"/>
              <a:gd name="T12" fmla="*/ 51 w 669"/>
              <a:gd name="T13" fmla="*/ 256 h 580"/>
              <a:gd name="T14" fmla="*/ 96 w 669"/>
              <a:gd name="T15" fmla="*/ 198 h 580"/>
              <a:gd name="T16" fmla="*/ 192 w 669"/>
              <a:gd name="T17" fmla="*/ 3 h 580"/>
              <a:gd name="T18" fmla="*/ 199 w 669"/>
              <a:gd name="T19" fmla="*/ 2 h 580"/>
              <a:gd name="T20" fmla="*/ 219 w 669"/>
              <a:gd name="T21" fmla="*/ 8 h 580"/>
              <a:gd name="T22" fmla="*/ 253 w 669"/>
              <a:gd name="T23" fmla="*/ 41 h 580"/>
              <a:gd name="T24" fmla="*/ 254 w 669"/>
              <a:gd name="T25" fmla="*/ 50 h 580"/>
              <a:gd name="T26" fmla="*/ 256 w 669"/>
              <a:gd name="T27" fmla="*/ 68 h 580"/>
              <a:gd name="T28" fmla="*/ 297 w 669"/>
              <a:gd name="T29" fmla="*/ 103 h 580"/>
              <a:gd name="T30" fmla="*/ 356 w 669"/>
              <a:gd name="T31" fmla="*/ 124 h 580"/>
              <a:gd name="T32" fmla="*/ 408 w 669"/>
              <a:gd name="T33" fmla="*/ 142 h 580"/>
              <a:gd name="T34" fmla="*/ 432 w 669"/>
              <a:gd name="T35" fmla="*/ 146 h 580"/>
              <a:gd name="T36" fmla="*/ 478 w 669"/>
              <a:gd name="T37" fmla="*/ 149 h 580"/>
              <a:gd name="T38" fmla="*/ 606 w 669"/>
              <a:gd name="T39" fmla="*/ 181 h 580"/>
              <a:gd name="T40" fmla="*/ 658 w 669"/>
              <a:gd name="T41" fmla="*/ 200 h 580"/>
              <a:gd name="T42" fmla="*/ 659 w 669"/>
              <a:gd name="T43" fmla="*/ 205 h 580"/>
              <a:gd name="T44" fmla="*/ 665 w 669"/>
              <a:gd name="T45" fmla="*/ 234 h 580"/>
              <a:gd name="T46" fmla="*/ 669 w 669"/>
              <a:gd name="T47" fmla="*/ 259 h 580"/>
              <a:gd name="T48" fmla="*/ 655 w 669"/>
              <a:gd name="T49" fmla="*/ 275 h 580"/>
              <a:gd name="T50" fmla="*/ 640 w 669"/>
              <a:gd name="T51" fmla="*/ 295 h 580"/>
              <a:gd name="T52" fmla="*/ 606 w 669"/>
              <a:gd name="T53" fmla="*/ 329 h 580"/>
              <a:gd name="T54" fmla="*/ 591 w 669"/>
              <a:gd name="T55" fmla="*/ 374 h 580"/>
              <a:gd name="T56" fmla="*/ 583 w 669"/>
              <a:gd name="T57" fmla="*/ 413 h 580"/>
              <a:gd name="T58" fmla="*/ 569 w 669"/>
              <a:gd name="T59" fmla="*/ 443 h 580"/>
              <a:gd name="T60" fmla="*/ 524 w 669"/>
              <a:gd name="T61" fmla="*/ 579 h 580"/>
              <a:gd name="T62" fmla="*/ 418 w 669"/>
              <a:gd name="T63" fmla="*/ 541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69" h="580">
                <a:moveTo>
                  <a:pt x="418" y="541"/>
                </a:moveTo>
                <a:cubicBezTo>
                  <a:pt x="361" y="520"/>
                  <a:pt x="295" y="496"/>
                  <a:pt x="272" y="488"/>
                </a:cubicBezTo>
                <a:cubicBezTo>
                  <a:pt x="209" y="464"/>
                  <a:pt x="51" y="407"/>
                  <a:pt x="20" y="397"/>
                </a:cubicBezTo>
                <a:cubicBezTo>
                  <a:pt x="10" y="393"/>
                  <a:pt x="2" y="390"/>
                  <a:pt x="1" y="389"/>
                </a:cubicBezTo>
                <a:cubicBezTo>
                  <a:pt x="0" y="389"/>
                  <a:pt x="1" y="382"/>
                  <a:pt x="4" y="375"/>
                </a:cubicBezTo>
                <a:cubicBezTo>
                  <a:pt x="6" y="368"/>
                  <a:pt x="9" y="354"/>
                  <a:pt x="10" y="345"/>
                </a:cubicBezTo>
                <a:cubicBezTo>
                  <a:pt x="14" y="306"/>
                  <a:pt x="23" y="287"/>
                  <a:pt x="51" y="256"/>
                </a:cubicBezTo>
                <a:cubicBezTo>
                  <a:pt x="66" y="239"/>
                  <a:pt x="86" y="213"/>
                  <a:pt x="96" y="198"/>
                </a:cubicBezTo>
                <a:cubicBezTo>
                  <a:pt x="115" y="166"/>
                  <a:pt x="192" y="10"/>
                  <a:pt x="192" y="3"/>
                </a:cubicBezTo>
                <a:cubicBezTo>
                  <a:pt x="192" y="0"/>
                  <a:pt x="195" y="0"/>
                  <a:pt x="199" y="2"/>
                </a:cubicBezTo>
                <a:cubicBezTo>
                  <a:pt x="203" y="3"/>
                  <a:pt x="212" y="6"/>
                  <a:pt x="219" y="8"/>
                </a:cubicBezTo>
                <a:cubicBezTo>
                  <a:pt x="231" y="12"/>
                  <a:pt x="251" y="31"/>
                  <a:pt x="253" y="41"/>
                </a:cubicBezTo>
                <a:cubicBezTo>
                  <a:pt x="253" y="43"/>
                  <a:pt x="254" y="47"/>
                  <a:pt x="254" y="50"/>
                </a:cubicBezTo>
                <a:cubicBezTo>
                  <a:pt x="255" y="52"/>
                  <a:pt x="255" y="60"/>
                  <a:pt x="256" y="68"/>
                </a:cubicBezTo>
                <a:cubicBezTo>
                  <a:pt x="256" y="88"/>
                  <a:pt x="267" y="97"/>
                  <a:pt x="297" y="103"/>
                </a:cubicBezTo>
                <a:cubicBezTo>
                  <a:pt x="311" y="106"/>
                  <a:pt x="337" y="115"/>
                  <a:pt x="356" y="124"/>
                </a:cubicBezTo>
                <a:cubicBezTo>
                  <a:pt x="375" y="132"/>
                  <a:pt x="398" y="140"/>
                  <a:pt x="408" y="142"/>
                </a:cubicBezTo>
                <a:cubicBezTo>
                  <a:pt x="418" y="143"/>
                  <a:pt x="429" y="145"/>
                  <a:pt x="432" y="146"/>
                </a:cubicBezTo>
                <a:cubicBezTo>
                  <a:pt x="435" y="146"/>
                  <a:pt x="456" y="148"/>
                  <a:pt x="478" y="149"/>
                </a:cubicBezTo>
                <a:cubicBezTo>
                  <a:pt x="523" y="153"/>
                  <a:pt x="535" y="156"/>
                  <a:pt x="606" y="181"/>
                </a:cubicBezTo>
                <a:cubicBezTo>
                  <a:pt x="634" y="191"/>
                  <a:pt x="658" y="200"/>
                  <a:pt x="658" y="200"/>
                </a:cubicBezTo>
                <a:cubicBezTo>
                  <a:pt x="658" y="200"/>
                  <a:pt x="659" y="202"/>
                  <a:pt x="659" y="205"/>
                </a:cubicBezTo>
                <a:cubicBezTo>
                  <a:pt x="660" y="207"/>
                  <a:pt x="662" y="221"/>
                  <a:pt x="665" y="234"/>
                </a:cubicBezTo>
                <a:cubicBezTo>
                  <a:pt x="669" y="259"/>
                  <a:pt x="669" y="259"/>
                  <a:pt x="669" y="259"/>
                </a:cubicBezTo>
                <a:cubicBezTo>
                  <a:pt x="655" y="275"/>
                  <a:pt x="655" y="275"/>
                  <a:pt x="655" y="275"/>
                </a:cubicBezTo>
                <a:cubicBezTo>
                  <a:pt x="647" y="284"/>
                  <a:pt x="640" y="293"/>
                  <a:pt x="640" y="295"/>
                </a:cubicBezTo>
                <a:cubicBezTo>
                  <a:pt x="640" y="301"/>
                  <a:pt x="618" y="323"/>
                  <a:pt x="606" y="329"/>
                </a:cubicBezTo>
                <a:cubicBezTo>
                  <a:pt x="591" y="336"/>
                  <a:pt x="587" y="347"/>
                  <a:pt x="591" y="374"/>
                </a:cubicBezTo>
                <a:cubicBezTo>
                  <a:pt x="596" y="401"/>
                  <a:pt x="596" y="401"/>
                  <a:pt x="583" y="413"/>
                </a:cubicBezTo>
                <a:cubicBezTo>
                  <a:pt x="574" y="421"/>
                  <a:pt x="571" y="428"/>
                  <a:pt x="569" y="443"/>
                </a:cubicBezTo>
                <a:cubicBezTo>
                  <a:pt x="568" y="460"/>
                  <a:pt x="528" y="580"/>
                  <a:pt x="524" y="579"/>
                </a:cubicBezTo>
                <a:cubicBezTo>
                  <a:pt x="523" y="579"/>
                  <a:pt x="475" y="562"/>
                  <a:pt x="418" y="541"/>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516" name="Freeform 115"/>
          <p:cNvSpPr>
            <a:spLocks/>
          </p:cNvSpPr>
          <p:nvPr userDrawn="1"/>
        </p:nvSpPr>
        <p:spPr bwMode="black">
          <a:xfrm>
            <a:off x="5046033" y="2317641"/>
            <a:ext cx="647700" cy="417513"/>
          </a:xfrm>
          <a:custGeom>
            <a:avLst/>
            <a:gdLst>
              <a:gd name="T0" fmla="*/ 28 w 451"/>
              <a:gd name="T1" fmla="*/ 284 h 291"/>
              <a:gd name="T2" fmla="*/ 19 w 451"/>
              <a:gd name="T3" fmla="*/ 247 h 291"/>
              <a:gd name="T4" fmla="*/ 11 w 451"/>
              <a:gd name="T5" fmla="*/ 210 h 291"/>
              <a:gd name="T6" fmla="*/ 5 w 451"/>
              <a:gd name="T7" fmla="*/ 137 h 291"/>
              <a:gd name="T8" fmla="*/ 1 w 451"/>
              <a:gd name="T9" fmla="*/ 66 h 291"/>
              <a:gd name="T10" fmla="*/ 11 w 451"/>
              <a:gd name="T11" fmla="*/ 46 h 291"/>
              <a:gd name="T12" fmla="*/ 30 w 451"/>
              <a:gd name="T13" fmla="*/ 32 h 291"/>
              <a:gd name="T14" fmla="*/ 42 w 451"/>
              <a:gd name="T15" fmla="*/ 38 h 291"/>
              <a:gd name="T16" fmla="*/ 44 w 451"/>
              <a:gd name="T17" fmla="*/ 51 h 291"/>
              <a:gd name="T18" fmla="*/ 66 w 451"/>
              <a:gd name="T19" fmla="*/ 49 h 291"/>
              <a:gd name="T20" fmla="*/ 97 w 451"/>
              <a:gd name="T21" fmla="*/ 44 h 291"/>
              <a:gd name="T22" fmla="*/ 131 w 451"/>
              <a:gd name="T23" fmla="*/ 39 h 291"/>
              <a:gd name="T24" fmla="*/ 173 w 451"/>
              <a:gd name="T25" fmla="*/ 32 h 291"/>
              <a:gd name="T26" fmla="*/ 284 w 451"/>
              <a:gd name="T27" fmla="*/ 15 h 291"/>
              <a:gd name="T28" fmla="*/ 379 w 451"/>
              <a:gd name="T29" fmla="*/ 0 h 291"/>
              <a:gd name="T30" fmla="*/ 393 w 451"/>
              <a:gd name="T31" fmla="*/ 15 h 291"/>
              <a:gd name="T32" fmla="*/ 407 w 451"/>
              <a:gd name="T33" fmla="*/ 34 h 291"/>
              <a:gd name="T34" fmla="*/ 421 w 451"/>
              <a:gd name="T35" fmla="*/ 48 h 291"/>
              <a:gd name="T36" fmla="*/ 433 w 451"/>
              <a:gd name="T37" fmla="*/ 59 h 291"/>
              <a:gd name="T38" fmla="*/ 425 w 451"/>
              <a:gd name="T39" fmla="*/ 104 h 291"/>
              <a:gd name="T40" fmla="*/ 419 w 451"/>
              <a:gd name="T41" fmla="*/ 125 h 291"/>
              <a:gd name="T42" fmla="*/ 433 w 451"/>
              <a:gd name="T43" fmla="*/ 164 h 291"/>
              <a:gd name="T44" fmla="*/ 451 w 451"/>
              <a:gd name="T45" fmla="*/ 181 h 291"/>
              <a:gd name="T46" fmla="*/ 427 w 451"/>
              <a:gd name="T47" fmla="*/ 205 h 291"/>
              <a:gd name="T48" fmla="*/ 392 w 451"/>
              <a:gd name="T49" fmla="*/ 234 h 291"/>
              <a:gd name="T50" fmla="*/ 329 w 451"/>
              <a:gd name="T51" fmla="*/ 247 h 291"/>
              <a:gd name="T52" fmla="*/ 269 w 451"/>
              <a:gd name="T53" fmla="*/ 257 h 291"/>
              <a:gd name="T54" fmla="*/ 189 w 451"/>
              <a:gd name="T55" fmla="*/ 271 h 291"/>
              <a:gd name="T56" fmla="*/ 64 w 451"/>
              <a:gd name="T57" fmla="*/ 289 h 291"/>
              <a:gd name="T58" fmla="*/ 28 w 451"/>
              <a:gd name="T59" fmla="*/ 284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51" h="291">
                <a:moveTo>
                  <a:pt x="28" y="284"/>
                </a:moveTo>
                <a:cubicBezTo>
                  <a:pt x="26" y="280"/>
                  <a:pt x="22" y="263"/>
                  <a:pt x="19" y="247"/>
                </a:cubicBezTo>
                <a:cubicBezTo>
                  <a:pt x="13" y="213"/>
                  <a:pt x="13" y="211"/>
                  <a:pt x="11" y="210"/>
                </a:cubicBezTo>
                <a:cubicBezTo>
                  <a:pt x="9" y="208"/>
                  <a:pt x="8" y="194"/>
                  <a:pt x="5" y="137"/>
                </a:cubicBezTo>
                <a:cubicBezTo>
                  <a:pt x="4" y="106"/>
                  <a:pt x="2" y="74"/>
                  <a:pt x="1" y="66"/>
                </a:cubicBezTo>
                <a:cubicBezTo>
                  <a:pt x="0" y="55"/>
                  <a:pt x="2" y="51"/>
                  <a:pt x="11" y="46"/>
                </a:cubicBezTo>
                <a:cubicBezTo>
                  <a:pt x="16" y="42"/>
                  <a:pt x="25" y="36"/>
                  <a:pt x="30" y="32"/>
                </a:cubicBezTo>
                <a:cubicBezTo>
                  <a:pt x="39" y="26"/>
                  <a:pt x="39" y="26"/>
                  <a:pt x="42" y="38"/>
                </a:cubicBezTo>
                <a:cubicBezTo>
                  <a:pt x="44" y="51"/>
                  <a:pt x="44" y="51"/>
                  <a:pt x="44" y="51"/>
                </a:cubicBezTo>
                <a:cubicBezTo>
                  <a:pt x="66" y="49"/>
                  <a:pt x="66" y="49"/>
                  <a:pt x="66" y="49"/>
                </a:cubicBezTo>
                <a:cubicBezTo>
                  <a:pt x="78" y="47"/>
                  <a:pt x="92" y="45"/>
                  <a:pt x="97" y="44"/>
                </a:cubicBezTo>
                <a:cubicBezTo>
                  <a:pt x="101" y="44"/>
                  <a:pt x="117" y="41"/>
                  <a:pt x="131" y="39"/>
                </a:cubicBezTo>
                <a:cubicBezTo>
                  <a:pt x="145" y="37"/>
                  <a:pt x="164" y="34"/>
                  <a:pt x="173" y="32"/>
                </a:cubicBezTo>
                <a:cubicBezTo>
                  <a:pt x="182" y="31"/>
                  <a:pt x="232" y="23"/>
                  <a:pt x="284" y="15"/>
                </a:cubicBezTo>
                <a:cubicBezTo>
                  <a:pt x="379" y="0"/>
                  <a:pt x="379" y="0"/>
                  <a:pt x="379" y="0"/>
                </a:cubicBezTo>
                <a:cubicBezTo>
                  <a:pt x="393" y="15"/>
                  <a:pt x="393" y="15"/>
                  <a:pt x="393" y="15"/>
                </a:cubicBezTo>
                <a:cubicBezTo>
                  <a:pt x="401" y="24"/>
                  <a:pt x="407" y="32"/>
                  <a:pt x="407" y="34"/>
                </a:cubicBezTo>
                <a:cubicBezTo>
                  <a:pt x="407" y="37"/>
                  <a:pt x="413" y="43"/>
                  <a:pt x="421" y="48"/>
                </a:cubicBezTo>
                <a:cubicBezTo>
                  <a:pt x="429" y="53"/>
                  <a:pt x="434" y="58"/>
                  <a:pt x="433" y="59"/>
                </a:cubicBezTo>
                <a:cubicBezTo>
                  <a:pt x="431" y="61"/>
                  <a:pt x="428" y="77"/>
                  <a:pt x="425" y="104"/>
                </a:cubicBezTo>
                <a:cubicBezTo>
                  <a:pt x="423" y="114"/>
                  <a:pt x="421" y="124"/>
                  <a:pt x="419" y="125"/>
                </a:cubicBezTo>
                <a:cubicBezTo>
                  <a:pt x="409" y="131"/>
                  <a:pt x="416" y="148"/>
                  <a:pt x="433" y="164"/>
                </a:cubicBezTo>
                <a:cubicBezTo>
                  <a:pt x="451" y="181"/>
                  <a:pt x="451" y="181"/>
                  <a:pt x="451" y="181"/>
                </a:cubicBezTo>
                <a:cubicBezTo>
                  <a:pt x="427" y="205"/>
                  <a:pt x="427" y="205"/>
                  <a:pt x="427" y="205"/>
                </a:cubicBezTo>
                <a:cubicBezTo>
                  <a:pt x="414" y="219"/>
                  <a:pt x="398" y="232"/>
                  <a:pt x="392" y="234"/>
                </a:cubicBezTo>
                <a:cubicBezTo>
                  <a:pt x="386" y="236"/>
                  <a:pt x="358" y="242"/>
                  <a:pt x="329" y="247"/>
                </a:cubicBezTo>
                <a:cubicBezTo>
                  <a:pt x="301" y="252"/>
                  <a:pt x="274" y="256"/>
                  <a:pt x="269" y="257"/>
                </a:cubicBezTo>
                <a:cubicBezTo>
                  <a:pt x="265" y="258"/>
                  <a:pt x="229" y="264"/>
                  <a:pt x="189" y="271"/>
                </a:cubicBezTo>
                <a:cubicBezTo>
                  <a:pt x="95" y="287"/>
                  <a:pt x="102" y="286"/>
                  <a:pt x="64" y="289"/>
                </a:cubicBezTo>
                <a:cubicBezTo>
                  <a:pt x="35" y="291"/>
                  <a:pt x="31" y="290"/>
                  <a:pt x="28" y="284"/>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517" name="Freeform 116"/>
          <p:cNvSpPr>
            <a:spLocks/>
          </p:cNvSpPr>
          <p:nvPr userDrawn="1"/>
        </p:nvSpPr>
        <p:spPr bwMode="black">
          <a:xfrm>
            <a:off x="5981070" y="2235091"/>
            <a:ext cx="82551" cy="103188"/>
          </a:xfrm>
          <a:custGeom>
            <a:avLst/>
            <a:gdLst>
              <a:gd name="T0" fmla="*/ 12 w 58"/>
              <a:gd name="T1" fmla="*/ 45 h 72"/>
              <a:gd name="T2" fmla="*/ 3 w 58"/>
              <a:gd name="T3" fmla="*/ 9 h 72"/>
              <a:gd name="T4" fmla="*/ 16 w 58"/>
              <a:gd name="T5" fmla="*/ 0 h 72"/>
              <a:gd name="T6" fmla="*/ 45 w 58"/>
              <a:gd name="T7" fmla="*/ 20 h 72"/>
              <a:gd name="T8" fmla="*/ 54 w 58"/>
              <a:gd name="T9" fmla="*/ 47 h 72"/>
              <a:gd name="T10" fmla="*/ 21 w 58"/>
              <a:gd name="T11" fmla="*/ 72 h 72"/>
              <a:gd name="T12" fmla="*/ 12 w 58"/>
              <a:gd name="T13" fmla="*/ 45 h 72"/>
            </a:gdLst>
            <a:ahLst/>
            <a:cxnLst>
              <a:cxn ang="0">
                <a:pos x="T0" y="T1"/>
              </a:cxn>
              <a:cxn ang="0">
                <a:pos x="T2" y="T3"/>
              </a:cxn>
              <a:cxn ang="0">
                <a:pos x="T4" y="T5"/>
              </a:cxn>
              <a:cxn ang="0">
                <a:pos x="T6" y="T7"/>
              </a:cxn>
              <a:cxn ang="0">
                <a:pos x="T8" y="T9"/>
              </a:cxn>
              <a:cxn ang="0">
                <a:pos x="T10" y="T11"/>
              </a:cxn>
              <a:cxn ang="0">
                <a:pos x="T12" y="T13"/>
              </a:cxn>
            </a:cxnLst>
            <a:rect l="0" t="0" r="r" b="b"/>
            <a:pathLst>
              <a:path w="58" h="72">
                <a:moveTo>
                  <a:pt x="12" y="45"/>
                </a:moveTo>
                <a:cubicBezTo>
                  <a:pt x="8" y="30"/>
                  <a:pt x="4" y="14"/>
                  <a:pt x="3" y="9"/>
                </a:cubicBezTo>
                <a:cubicBezTo>
                  <a:pt x="0" y="0"/>
                  <a:pt x="2" y="0"/>
                  <a:pt x="16" y="0"/>
                </a:cubicBezTo>
                <a:cubicBezTo>
                  <a:pt x="31" y="0"/>
                  <a:pt x="33" y="1"/>
                  <a:pt x="45" y="20"/>
                </a:cubicBezTo>
                <a:cubicBezTo>
                  <a:pt x="55" y="36"/>
                  <a:pt x="58" y="42"/>
                  <a:pt x="54" y="47"/>
                </a:cubicBezTo>
                <a:cubicBezTo>
                  <a:pt x="50" y="54"/>
                  <a:pt x="26" y="72"/>
                  <a:pt x="21" y="72"/>
                </a:cubicBezTo>
                <a:cubicBezTo>
                  <a:pt x="20" y="72"/>
                  <a:pt x="16" y="59"/>
                  <a:pt x="12" y="45"/>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518" name="Freeform 117"/>
          <p:cNvSpPr>
            <a:spLocks/>
          </p:cNvSpPr>
          <p:nvPr userDrawn="1"/>
        </p:nvSpPr>
        <p:spPr bwMode="black">
          <a:xfrm>
            <a:off x="4831720" y="3455879"/>
            <a:ext cx="600075" cy="460375"/>
          </a:xfrm>
          <a:custGeom>
            <a:avLst/>
            <a:gdLst>
              <a:gd name="T0" fmla="*/ 232 w 417"/>
              <a:gd name="T1" fmla="*/ 315 h 320"/>
              <a:gd name="T2" fmla="*/ 212 w 417"/>
              <a:gd name="T3" fmla="*/ 292 h 320"/>
              <a:gd name="T4" fmla="*/ 200 w 417"/>
              <a:gd name="T5" fmla="*/ 274 h 320"/>
              <a:gd name="T6" fmla="*/ 176 w 417"/>
              <a:gd name="T7" fmla="*/ 245 h 320"/>
              <a:gd name="T8" fmla="*/ 161 w 417"/>
              <a:gd name="T9" fmla="*/ 220 h 320"/>
              <a:gd name="T10" fmla="*/ 134 w 417"/>
              <a:gd name="T11" fmla="*/ 186 h 320"/>
              <a:gd name="T12" fmla="*/ 100 w 417"/>
              <a:gd name="T13" fmla="*/ 154 h 320"/>
              <a:gd name="T14" fmla="*/ 58 w 417"/>
              <a:gd name="T15" fmla="*/ 110 h 320"/>
              <a:gd name="T16" fmla="*/ 24 w 417"/>
              <a:gd name="T17" fmla="*/ 78 h 320"/>
              <a:gd name="T18" fmla="*/ 3 w 417"/>
              <a:gd name="T19" fmla="*/ 50 h 320"/>
              <a:gd name="T20" fmla="*/ 71 w 417"/>
              <a:gd name="T21" fmla="*/ 16 h 320"/>
              <a:gd name="T22" fmla="*/ 204 w 417"/>
              <a:gd name="T23" fmla="*/ 22 h 320"/>
              <a:gd name="T24" fmla="*/ 254 w 417"/>
              <a:gd name="T25" fmla="*/ 25 h 320"/>
              <a:gd name="T26" fmla="*/ 311 w 417"/>
              <a:gd name="T27" fmla="*/ 30 h 320"/>
              <a:gd name="T28" fmla="*/ 324 w 417"/>
              <a:gd name="T29" fmla="*/ 40 h 320"/>
              <a:gd name="T30" fmla="*/ 354 w 417"/>
              <a:gd name="T31" fmla="*/ 65 h 320"/>
              <a:gd name="T32" fmla="*/ 396 w 417"/>
              <a:gd name="T33" fmla="*/ 93 h 320"/>
              <a:gd name="T34" fmla="*/ 416 w 417"/>
              <a:gd name="T35" fmla="*/ 104 h 320"/>
              <a:gd name="T36" fmla="*/ 401 w 417"/>
              <a:gd name="T37" fmla="*/ 125 h 320"/>
              <a:gd name="T38" fmla="*/ 374 w 417"/>
              <a:gd name="T39" fmla="*/ 176 h 320"/>
              <a:gd name="T40" fmla="*/ 357 w 417"/>
              <a:gd name="T41" fmla="*/ 206 h 320"/>
              <a:gd name="T42" fmla="*/ 326 w 417"/>
              <a:gd name="T43" fmla="*/ 239 h 320"/>
              <a:gd name="T44" fmla="*/ 276 w 417"/>
              <a:gd name="T45" fmla="*/ 289 h 320"/>
              <a:gd name="T46" fmla="*/ 232 w 417"/>
              <a:gd name="T47" fmla="*/ 31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17" h="320">
                <a:moveTo>
                  <a:pt x="232" y="315"/>
                </a:moveTo>
                <a:cubicBezTo>
                  <a:pt x="226" y="312"/>
                  <a:pt x="217" y="302"/>
                  <a:pt x="212" y="292"/>
                </a:cubicBezTo>
                <a:cubicBezTo>
                  <a:pt x="206" y="282"/>
                  <a:pt x="201" y="274"/>
                  <a:pt x="200" y="274"/>
                </a:cubicBezTo>
                <a:cubicBezTo>
                  <a:pt x="194" y="274"/>
                  <a:pt x="176" y="252"/>
                  <a:pt x="176" y="245"/>
                </a:cubicBezTo>
                <a:cubicBezTo>
                  <a:pt x="176" y="241"/>
                  <a:pt x="169" y="230"/>
                  <a:pt x="161" y="220"/>
                </a:cubicBezTo>
                <a:cubicBezTo>
                  <a:pt x="153" y="210"/>
                  <a:pt x="141" y="195"/>
                  <a:pt x="134" y="186"/>
                </a:cubicBezTo>
                <a:cubicBezTo>
                  <a:pt x="128" y="178"/>
                  <a:pt x="112" y="163"/>
                  <a:pt x="100" y="154"/>
                </a:cubicBezTo>
                <a:cubicBezTo>
                  <a:pt x="88" y="144"/>
                  <a:pt x="69" y="125"/>
                  <a:pt x="58" y="110"/>
                </a:cubicBezTo>
                <a:cubicBezTo>
                  <a:pt x="47" y="96"/>
                  <a:pt x="32" y="82"/>
                  <a:pt x="24" y="78"/>
                </a:cubicBezTo>
                <a:cubicBezTo>
                  <a:pt x="5" y="68"/>
                  <a:pt x="0" y="61"/>
                  <a:pt x="3" y="50"/>
                </a:cubicBezTo>
                <a:cubicBezTo>
                  <a:pt x="5" y="41"/>
                  <a:pt x="25" y="31"/>
                  <a:pt x="71" y="16"/>
                </a:cubicBezTo>
                <a:cubicBezTo>
                  <a:pt x="119" y="0"/>
                  <a:pt x="204" y="4"/>
                  <a:pt x="204" y="22"/>
                </a:cubicBezTo>
                <a:cubicBezTo>
                  <a:pt x="204" y="25"/>
                  <a:pt x="221" y="26"/>
                  <a:pt x="254" y="25"/>
                </a:cubicBezTo>
                <a:cubicBezTo>
                  <a:pt x="293" y="24"/>
                  <a:pt x="305" y="25"/>
                  <a:pt x="311" y="30"/>
                </a:cubicBezTo>
                <a:cubicBezTo>
                  <a:pt x="315" y="33"/>
                  <a:pt x="321" y="38"/>
                  <a:pt x="324" y="40"/>
                </a:cubicBezTo>
                <a:cubicBezTo>
                  <a:pt x="327" y="43"/>
                  <a:pt x="341" y="54"/>
                  <a:pt x="354" y="65"/>
                </a:cubicBezTo>
                <a:cubicBezTo>
                  <a:pt x="367" y="76"/>
                  <a:pt x="386" y="89"/>
                  <a:pt x="396" y="93"/>
                </a:cubicBezTo>
                <a:cubicBezTo>
                  <a:pt x="406" y="98"/>
                  <a:pt x="415" y="103"/>
                  <a:pt x="416" y="104"/>
                </a:cubicBezTo>
                <a:cubicBezTo>
                  <a:pt x="417" y="105"/>
                  <a:pt x="410" y="114"/>
                  <a:pt x="401" y="125"/>
                </a:cubicBezTo>
                <a:cubicBezTo>
                  <a:pt x="382" y="148"/>
                  <a:pt x="378" y="155"/>
                  <a:pt x="374" y="176"/>
                </a:cubicBezTo>
                <a:cubicBezTo>
                  <a:pt x="372" y="187"/>
                  <a:pt x="367" y="196"/>
                  <a:pt x="357" y="206"/>
                </a:cubicBezTo>
                <a:cubicBezTo>
                  <a:pt x="349" y="213"/>
                  <a:pt x="335" y="228"/>
                  <a:pt x="326" y="239"/>
                </a:cubicBezTo>
                <a:cubicBezTo>
                  <a:pt x="317" y="249"/>
                  <a:pt x="295" y="272"/>
                  <a:pt x="276" y="289"/>
                </a:cubicBezTo>
                <a:cubicBezTo>
                  <a:pt x="243" y="319"/>
                  <a:pt x="241" y="320"/>
                  <a:pt x="232" y="315"/>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519" name="Freeform 118"/>
          <p:cNvSpPr>
            <a:spLocks/>
          </p:cNvSpPr>
          <p:nvPr userDrawn="1"/>
        </p:nvSpPr>
        <p:spPr bwMode="black">
          <a:xfrm>
            <a:off x="2482219" y="1766779"/>
            <a:ext cx="814388" cy="568325"/>
          </a:xfrm>
          <a:custGeom>
            <a:avLst/>
            <a:gdLst>
              <a:gd name="T0" fmla="*/ 517 w 566"/>
              <a:gd name="T1" fmla="*/ 379 h 395"/>
              <a:gd name="T2" fmla="*/ 473 w 566"/>
              <a:gd name="T3" fmla="*/ 371 h 395"/>
              <a:gd name="T4" fmla="*/ 432 w 566"/>
              <a:gd name="T5" fmla="*/ 359 h 395"/>
              <a:gd name="T6" fmla="*/ 342 w 566"/>
              <a:gd name="T7" fmla="*/ 336 h 395"/>
              <a:gd name="T8" fmla="*/ 314 w 566"/>
              <a:gd name="T9" fmla="*/ 332 h 395"/>
              <a:gd name="T10" fmla="*/ 284 w 566"/>
              <a:gd name="T11" fmla="*/ 328 h 395"/>
              <a:gd name="T12" fmla="*/ 250 w 566"/>
              <a:gd name="T13" fmla="*/ 324 h 395"/>
              <a:gd name="T14" fmla="*/ 222 w 566"/>
              <a:gd name="T15" fmla="*/ 320 h 395"/>
              <a:gd name="T16" fmla="*/ 188 w 566"/>
              <a:gd name="T17" fmla="*/ 316 h 395"/>
              <a:gd name="T18" fmla="*/ 128 w 566"/>
              <a:gd name="T19" fmla="*/ 308 h 395"/>
              <a:gd name="T20" fmla="*/ 60 w 566"/>
              <a:gd name="T21" fmla="*/ 299 h 395"/>
              <a:gd name="T22" fmla="*/ 1 w 566"/>
              <a:gd name="T23" fmla="*/ 283 h 395"/>
              <a:gd name="T24" fmla="*/ 28 w 566"/>
              <a:gd name="T25" fmla="*/ 122 h 395"/>
              <a:gd name="T26" fmla="*/ 32 w 566"/>
              <a:gd name="T27" fmla="*/ 98 h 395"/>
              <a:gd name="T28" fmla="*/ 41 w 566"/>
              <a:gd name="T29" fmla="*/ 42 h 395"/>
              <a:gd name="T30" fmla="*/ 58 w 566"/>
              <a:gd name="T31" fmla="*/ 0 h 395"/>
              <a:gd name="T32" fmla="*/ 129 w 566"/>
              <a:gd name="T33" fmla="*/ 7 h 395"/>
              <a:gd name="T34" fmla="*/ 192 w 566"/>
              <a:gd name="T35" fmla="*/ 16 h 395"/>
              <a:gd name="T36" fmla="*/ 222 w 566"/>
              <a:gd name="T37" fmla="*/ 20 h 395"/>
              <a:gd name="T38" fmla="*/ 256 w 566"/>
              <a:gd name="T39" fmla="*/ 24 h 395"/>
              <a:gd name="T40" fmla="*/ 286 w 566"/>
              <a:gd name="T41" fmla="*/ 28 h 395"/>
              <a:gd name="T42" fmla="*/ 344 w 566"/>
              <a:gd name="T43" fmla="*/ 36 h 395"/>
              <a:gd name="T44" fmla="*/ 524 w 566"/>
              <a:gd name="T45" fmla="*/ 59 h 395"/>
              <a:gd name="T46" fmla="*/ 547 w 566"/>
              <a:gd name="T47" fmla="*/ 61 h 395"/>
              <a:gd name="T48" fmla="*/ 554 w 566"/>
              <a:gd name="T49" fmla="*/ 69 h 395"/>
              <a:gd name="T50" fmla="*/ 558 w 566"/>
              <a:gd name="T51" fmla="*/ 102 h 395"/>
              <a:gd name="T52" fmla="*/ 564 w 566"/>
              <a:gd name="T53" fmla="*/ 144 h 395"/>
              <a:gd name="T54" fmla="*/ 556 w 566"/>
              <a:gd name="T55" fmla="*/ 259 h 395"/>
              <a:gd name="T56" fmla="*/ 551 w 566"/>
              <a:gd name="T57" fmla="*/ 313 h 395"/>
              <a:gd name="T58" fmla="*/ 548 w 566"/>
              <a:gd name="T59" fmla="*/ 353 h 395"/>
              <a:gd name="T60" fmla="*/ 517 w 566"/>
              <a:gd name="T61" fmla="*/ 379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66" h="395">
                <a:moveTo>
                  <a:pt x="517" y="379"/>
                </a:moveTo>
                <a:cubicBezTo>
                  <a:pt x="500" y="370"/>
                  <a:pt x="493" y="369"/>
                  <a:pt x="473" y="371"/>
                </a:cubicBezTo>
                <a:cubicBezTo>
                  <a:pt x="450" y="372"/>
                  <a:pt x="447" y="372"/>
                  <a:pt x="432" y="359"/>
                </a:cubicBezTo>
                <a:cubicBezTo>
                  <a:pt x="415" y="346"/>
                  <a:pt x="402" y="342"/>
                  <a:pt x="342" y="336"/>
                </a:cubicBezTo>
                <a:cubicBezTo>
                  <a:pt x="330" y="334"/>
                  <a:pt x="317" y="332"/>
                  <a:pt x="314" y="332"/>
                </a:cubicBezTo>
                <a:cubicBezTo>
                  <a:pt x="311" y="331"/>
                  <a:pt x="297" y="329"/>
                  <a:pt x="284" y="328"/>
                </a:cubicBezTo>
                <a:cubicBezTo>
                  <a:pt x="271" y="326"/>
                  <a:pt x="256" y="324"/>
                  <a:pt x="250" y="324"/>
                </a:cubicBezTo>
                <a:cubicBezTo>
                  <a:pt x="245" y="323"/>
                  <a:pt x="232" y="321"/>
                  <a:pt x="222" y="320"/>
                </a:cubicBezTo>
                <a:cubicBezTo>
                  <a:pt x="212" y="319"/>
                  <a:pt x="197" y="317"/>
                  <a:pt x="188" y="316"/>
                </a:cubicBezTo>
                <a:cubicBezTo>
                  <a:pt x="179" y="315"/>
                  <a:pt x="152" y="311"/>
                  <a:pt x="128" y="308"/>
                </a:cubicBezTo>
                <a:cubicBezTo>
                  <a:pt x="104" y="305"/>
                  <a:pt x="73" y="301"/>
                  <a:pt x="60" y="299"/>
                </a:cubicBezTo>
                <a:cubicBezTo>
                  <a:pt x="5" y="293"/>
                  <a:pt x="0" y="292"/>
                  <a:pt x="1" y="283"/>
                </a:cubicBezTo>
                <a:cubicBezTo>
                  <a:pt x="2" y="275"/>
                  <a:pt x="25" y="139"/>
                  <a:pt x="28" y="122"/>
                </a:cubicBezTo>
                <a:cubicBezTo>
                  <a:pt x="29" y="116"/>
                  <a:pt x="31" y="106"/>
                  <a:pt x="32" y="98"/>
                </a:cubicBezTo>
                <a:cubicBezTo>
                  <a:pt x="33" y="90"/>
                  <a:pt x="37" y="65"/>
                  <a:pt x="41" y="42"/>
                </a:cubicBezTo>
                <a:cubicBezTo>
                  <a:pt x="48" y="1"/>
                  <a:pt x="49" y="0"/>
                  <a:pt x="58" y="0"/>
                </a:cubicBezTo>
                <a:cubicBezTo>
                  <a:pt x="69" y="0"/>
                  <a:pt x="118" y="5"/>
                  <a:pt x="129" y="7"/>
                </a:cubicBezTo>
                <a:cubicBezTo>
                  <a:pt x="139" y="9"/>
                  <a:pt x="169" y="13"/>
                  <a:pt x="192" y="16"/>
                </a:cubicBezTo>
                <a:cubicBezTo>
                  <a:pt x="203" y="17"/>
                  <a:pt x="217" y="19"/>
                  <a:pt x="222" y="20"/>
                </a:cubicBezTo>
                <a:cubicBezTo>
                  <a:pt x="228" y="21"/>
                  <a:pt x="243" y="22"/>
                  <a:pt x="256" y="24"/>
                </a:cubicBezTo>
                <a:cubicBezTo>
                  <a:pt x="269" y="25"/>
                  <a:pt x="283" y="27"/>
                  <a:pt x="286" y="28"/>
                </a:cubicBezTo>
                <a:cubicBezTo>
                  <a:pt x="289" y="28"/>
                  <a:pt x="316" y="32"/>
                  <a:pt x="344" y="36"/>
                </a:cubicBezTo>
                <a:cubicBezTo>
                  <a:pt x="397" y="42"/>
                  <a:pt x="502" y="56"/>
                  <a:pt x="524" y="59"/>
                </a:cubicBezTo>
                <a:cubicBezTo>
                  <a:pt x="531" y="60"/>
                  <a:pt x="541" y="61"/>
                  <a:pt x="547" y="61"/>
                </a:cubicBezTo>
                <a:cubicBezTo>
                  <a:pt x="557" y="62"/>
                  <a:pt x="558" y="63"/>
                  <a:pt x="554" y="69"/>
                </a:cubicBezTo>
                <a:cubicBezTo>
                  <a:pt x="551" y="75"/>
                  <a:pt x="552" y="83"/>
                  <a:pt x="558" y="102"/>
                </a:cubicBezTo>
                <a:cubicBezTo>
                  <a:pt x="564" y="119"/>
                  <a:pt x="566" y="133"/>
                  <a:pt x="564" y="144"/>
                </a:cubicBezTo>
                <a:cubicBezTo>
                  <a:pt x="561" y="169"/>
                  <a:pt x="558" y="204"/>
                  <a:pt x="556" y="259"/>
                </a:cubicBezTo>
                <a:cubicBezTo>
                  <a:pt x="555" y="288"/>
                  <a:pt x="553" y="312"/>
                  <a:pt x="551" y="313"/>
                </a:cubicBezTo>
                <a:cubicBezTo>
                  <a:pt x="548" y="315"/>
                  <a:pt x="547" y="332"/>
                  <a:pt x="548" y="353"/>
                </a:cubicBezTo>
                <a:cubicBezTo>
                  <a:pt x="548" y="395"/>
                  <a:pt x="548" y="395"/>
                  <a:pt x="517" y="379"/>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520" name="Freeform 119"/>
          <p:cNvSpPr>
            <a:spLocks/>
          </p:cNvSpPr>
          <p:nvPr userDrawn="1"/>
        </p:nvSpPr>
        <p:spPr bwMode="black">
          <a:xfrm>
            <a:off x="3980820" y="3252677"/>
            <a:ext cx="1000125" cy="273051"/>
          </a:xfrm>
          <a:custGeom>
            <a:avLst/>
            <a:gdLst>
              <a:gd name="T0" fmla="*/ 0 w 696"/>
              <a:gd name="T1" fmla="*/ 186 h 191"/>
              <a:gd name="T2" fmla="*/ 19 w 696"/>
              <a:gd name="T3" fmla="*/ 135 h 191"/>
              <a:gd name="T4" fmla="*/ 47 w 696"/>
              <a:gd name="T5" fmla="*/ 66 h 191"/>
              <a:gd name="T6" fmla="*/ 69 w 696"/>
              <a:gd name="T7" fmla="*/ 37 h 191"/>
              <a:gd name="T8" fmla="*/ 128 w 696"/>
              <a:gd name="T9" fmla="*/ 34 h 191"/>
              <a:gd name="T10" fmla="*/ 184 w 696"/>
              <a:gd name="T11" fmla="*/ 24 h 191"/>
              <a:gd name="T12" fmla="*/ 290 w 696"/>
              <a:gd name="T13" fmla="*/ 14 h 191"/>
              <a:gd name="T14" fmla="*/ 669 w 696"/>
              <a:gd name="T15" fmla="*/ 1 h 191"/>
              <a:gd name="T16" fmla="*/ 696 w 696"/>
              <a:gd name="T17" fmla="*/ 1 h 191"/>
              <a:gd name="T18" fmla="*/ 679 w 696"/>
              <a:gd name="T19" fmla="*/ 28 h 191"/>
              <a:gd name="T20" fmla="*/ 641 w 696"/>
              <a:gd name="T21" fmla="*/ 49 h 191"/>
              <a:gd name="T22" fmla="*/ 589 w 696"/>
              <a:gd name="T23" fmla="*/ 83 h 191"/>
              <a:gd name="T24" fmla="*/ 548 w 696"/>
              <a:gd name="T25" fmla="*/ 111 h 191"/>
              <a:gd name="T26" fmla="*/ 518 w 696"/>
              <a:gd name="T27" fmla="*/ 133 h 191"/>
              <a:gd name="T28" fmla="*/ 486 w 696"/>
              <a:gd name="T29" fmla="*/ 160 h 191"/>
              <a:gd name="T30" fmla="*/ 464 w 696"/>
              <a:gd name="T31" fmla="*/ 176 h 191"/>
              <a:gd name="T32" fmla="*/ 228 w 696"/>
              <a:gd name="T33" fmla="*/ 186 h 191"/>
              <a:gd name="T34" fmla="*/ 17 w 696"/>
              <a:gd name="T35" fmla="*/ 190 h 191"/>
              <a:gd name="T36" fmla="*/ 0 w 696"/>
              <a:gd name="T37" fmla="*/ 18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96" h="191">
                <a:moveTo>
                  <a:pt x="0" y="186"/>
                </a:moveTo>
                <a:cubicBezTo>
                  <a:pt x="0" y="175"/>
                  <a:pt x="9" y="152"/>
                  <a:pt x="19" y="135"/>
                </a:cubicBezTo>
                <a:cubicBezTo>
                  <a:pt x="34" y="112"/>
                  <a:pt x="44" y="87"/>
                  <a:pt x="47" y="66"/>
                </a:cubicBezTo>
                <a:cubicBezTo>
                  <a:pt x="49" y="47"/>
                  <a:pt x="56" y="38"/>
                  <a:pt x="69" y="37"/>
                </a:cubicBezTo>
                <a:cubicBezTo>
                  <a:pt x="74" y="37"/>
                  <a:pt x="101" y="35"/>
                  <a:pt x="128" y="34"/>
                </a:cubicBezTo>
                <a:cubicBezTo>
                  <a:pt x="170" y="32"/>
                  <a:pt x="179" y="30"/>
                  <a:pt x="184" y="24"/>
                </a:cubicBezTo>
                <a:cubicBezTo>
                  <a:pt x="190" y="17"/>
                  <a:pt x="199" y="16"/>
                  <a:pt x="290" y="14"/>
                </a:cubicBezTo>
                <a:cubicBezTo>
                  <a:pt x="556" y="7"/>
                  <a:pt x="616" y="5"/>
                  <a:pt x="669" y="1"/>
                </a:cubicBezTo>
                <a:cubicBezTo>
                  <a:pt x="684" y="0"/>
                  <a:pt x="696" y="0"/>
                  <a:pt x="696" y="1"/>
                </a:cubicBezTo>
                <a:cubicBezTo>
                  <a:pt x="696" y="7"/>
                  <a:pt x="687" y="22"/>
                  <a:pt x="679" y="28"/>
                </a:cubicBezTo>
                <a:cubicBezTo>
                  <a:pt x="674" y="32"/>
                  <a:pt x="657" y="42"/>
                  <a:pt x="641" y="49"/>
                </a:cubicBezTo>
                <a:cubicBezTo>
                  <a:pt x="625" y="57"/>
                  <a:pt x="602" y="72"/>
                  <a:pt x="589" y="83"/>
                </a:cubicBezTo>
                <a:cubicBezTo>
                  <a:pt x="576" y="94"/>
                  <a:pt x="558" y="106"/>
                  <a:pt x="548" y="111"/>
                </a:cubicBezTo>
                <a:cubicBezTo>
                  <a:pt x="538" y="115"/>
                  <a:pt x="524" y="125"/>
                  <a:pt x="518" y="133"/>
                </a:cubicBezTo>
                <a:cubicBezTo>
                  <a:pt x="511" y="141"/>
                  <a:pt x="497" y="153"/>
                  <a:pt x="486" y="160"/>
                </a:cubicBezTo>
                <a:cubicBezTo>
                  <a:pt x="475" y="168"/>
                  <a:pt x="465" y="174"/>
                  <a:pt x="464" y="176"/>
                </a:cubicBezTo>
                <a:cubicBezTo>
                  <a:pt x="460" y="182"/>
                  <a:pt x="415" y="183"/>
                  <a:pt x="228" y="186"/>
                </a:cubicBezTo>
                <a:cubicBezTo>
                  <a:pt x="121" y="187"/>
                  <a:pt x="26" y="189"/>
                  <a:pt x="17" y="190"/>
                </a:cubicBezTo>
                <a:cubicBezTo>
                  <a:pt x="6" y="191"/>
                  <a:pt x="0" y="190"/>
                  <a:pt x="0" y="186"/>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521" name="Freeform 120"/>
          <p:cNvSpPr>
            <a:spLocks/>
          </p:cNvSpPr>
          <p:nvPr userDrawn="1"/>
        </p:nvSpPr>
        <p:spPr bwMode="black">
          <a:xfrm>
            <a:off x="1893257" y="3209816"/>
            <a:ext cx="1627188" cy="1725613"/>
          </a:xfrm>
          <a:custGeom>
            <a:avLst/>
            <a:gdLst>
              <a:gd name="T0" fmla="*/ 703 w 1132"/>
              <a:gd name="T1" fmla="*/ 1170 h 1202"/>
              <a:gd name="T2" fmla="*/ 626 w 1132"/>
              <a:gd name="T3" fmla="*/ 1137 h 1202"/>
              <a:gd name="T4" fmla="*/ 594 w 1132"/>
              <a:gd name="T5" fmla="*/ 1112 h 1202"/>
              <a:gd name="T6" fmla="*/ 579 w 1132"/>
              <a:gd name="T7" fmla="*/ 1054 h 1202"/>
              <a:gd name="T8" fmla="*/ 543 w 1132"/>
              <a:gd name="T9" fmla="*/ 960 h 1202"/>
              <a:gd name="T10" fmla="*/ 448 w 1132"/>
              <a:gd name="T11" fmla="*/ 771 h 1202"/>
              <a:gd name="T12" fmla="*/ 405 w 1132"/>
              <a:gd name="T13" fmla="*/ 727 h 1202"/>
              <a:gd name="T14" fmla="*/ 300 w 1132"/>
              <a:gd name="T15" fmla="*/ 737 h 1202"/>
              <a:gd name="T16" fmla="*/ 268 w 1132"/>
              <a:gd name="T17" fmla="*/ 773 h 1202"/>
              <a:gd name="T18" fmla="*/ 198 w 1132"/>
              <a:gd name="T19" fmla="*/ 760 h 1202"/>
              <a:gd name="T20" fmla="*/ 129 w 1132"/>
              <a:gd name="T21" fmla="*/ 608 h 1202"/>
              <a:gd name="T22" fmla="*/ 74 w 1132"/>
              <a:gd name="T23" fmla="*/ 544 h 1202"/>
              <a:gd name="T24" fmla="*/ 39 w 1132"/>
              <a:gd name="T25" fmla="*/ 498 h 1202"/>
              <a:gd name="T26" fmla="*/ 18 w 1132"/>
              <a:gd name="T27" fmla="*/ 453 h 1202"/>
              <a:gd name="T28" fmla="*/ 28 w 1132"/>
              <a:gd name="T29" fmla="*/ 423 h 1202"/>
              <a:gd name="T30" fmla="*/ 175 w 1132"/>
              <a:gd name="T31" fmla="*/ 444 h 1202"/>
              <a:gd name="T32" fmla="*/ 242 w 1132"/>
              <a:gd name="T33" fmla="*/ 456 h 1202"/>
              <a:gd name="T34" fmla="*/ 316 w 1132"/>
              <a:gd name="T35" fmla="*/ 463 h 1202"/>
              <a:gd name="T36" fmla="*/ 330 w 1132"/>
              <a:gd name="T37" fmla="*/ 380 h 1202"/>
              <a:gd name="T38" fmla="*/ 371 w 1132"/>
              <a:gd name="T39" fmla="*/ 130 h 1202"/>
              <a:gd name="T40" fmla="*/ 378 w 1132"/>
              <a:gd name="T41" fmla="*/ 86 h 1202"/>
              <a:gd name="T42" fmla="*/ 386 w 1132"/>
              <a:gd name="T43" fmla="*/ 36 h 1202"/>
              <a:gd name="T44" fmla="*/ 392 w 1132"/>
              <a:gd name="T45" fmla="*/ 3 h 1202"/>
              <a:gd name="T46" fmla="*/ 485 w 1132"/>
              <a:gd name="T47" fmla="*/ 11 h 1202"/>
              <a:gd name="T48" fmla="*/ 544 w 1132"/>
              <a:gd name="T49" fmla="*/ 20 h 1202"/>
              <a:gd name="T50" fmla="*/ 618 w 1132"/>
              <a:gd name="T51" fmla="*/ 30 h 1202"/>
              <a:gd name="T52" fmla="*/ 602 w 1132"/>
              <a:gd name="T53" fmla="*/ 230 h 1202"/>
              <a:gd name="T54" fmla="*/ 663 w 1132"/>
              <a:gd name="T55" fmla="*/ 270 h 1202"/>
              <a:gd name="T56" fmla="*/ 775 w 1132"/>
              <a:gd name="T57" fmla="*/ 317 h 1202"/>
              <a:gd name="T58" fmla="*/ 824 w 1132"/>
              <a:gd name="T59" fmla="*/ 334 h 1202"/>
              <a:gd name="T60" fmla="*/ 1055 w 1132"/>
              <a:gd name="T61" fmla="*/ 367 h 1202"/>
              <a:gd name="T62" fmla="*/ 1100 w 1132"/>
              <a:gd name="T63" fmla="*/ 386 h 1202"/>
              <a:gd name="T64" fmla="*/ 1100 w 1132"/>
              <a:gd name="T65" fmla="*/ 560 h 1202"/>
              <a:gd name="T66" fmla="*/ 1128 w 1132"/>
              <a:gd name="T67" fmla="*/ 636 h 1202"/>
              <a:gd name="T68" fmla="*/ 1114 w 1132"/>
              <a:gd name="T69" fmla="*/ 718 h 1202"/>
              <a:gd name="T70" fmla="*/ 1094 w 1132"/>
              <a:gd name="T71" fmla="*/ 797 h 1202"/>
              <a:gd name="T72" fmla="*/ 1030 w 1132"/>
              <a:gd name="T73" fmla="*/ 837 h 1202"/>
              <a:gd name="T74" fmla="*/ 868 w 1132"/>
              <a:gd name="T75" fmla="*/ 933 h 1202"/>
              <a:gd name="T76" fmla="*/ 785 w 1132"/>
              <a:gd name="T77" fmla="*/ 1018 h 1202"/>
              <a:gd name="T78" fmla="*/ 772 w 1132"/>
              <a:gd name="T79" fmla="*/ 1112 h 1202"/>
              <a:gd name="T80" fmla="*/ 745 w 1132"/>
              <a:gd name="T81" fmla="*/ 1185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32" h="1202">
                <a:moveTo>
                  <a:pt x="745" y="1185"/>
                </a:moveTo>
                <a:cubicBezTo>
                  <a:pt x="726" y="1172"/>
                  <a:pt x="720" y="1170"/>
                  <a:pt x="703" y="1170"/>
                </a:cubicBezTo>
                <a:cubicBezTo>
                  <a:pt x="688" y="1170"/>
                  <a:pt x="680" y="1167"/>
                  <a:pt x="663" y="1156"/>
                </a:cubicBezTo>
                <a:cubicBezTo>
                  <a:pt x="652" y="1148"/>
                  <a:pt x="635" y="1140"/>
                  <a:pt x="626" y="1137"/>
                </a:cubicBezTo>
                <a:cubicBezTo>
                  <a:pt x="617" y="1134"/>
                  <a:pt x="608" y="1129"/>
                  <a:pt x="605" y="1125"/>
                </a:cubicBezTo>
                <a:cubicBezTo>
                  <a:pt x="602" y="1121"/>
                  <a:pt x="597" y="1115"/>
                  <a:pt x="594" y="1112"/>
                </a:cubicBezTo>
                <a:cubicBezTo>
                  <a:pt x="589" y="1107"/>
                  <a:pt x="578" y="1072"/>
                  <a:pt x="582" y="1071"/>
                </a:cubicBezTo>
                <a:cubicBezTo>
                  <a:pt x="583" y="1071"/>
                  <a:pt x="583" y="1077"/>
                  <a:pt x="579" y="1054"/>
                </a:cubicBezTo>
                <a:cubicBezTo>
                  <a:pt x="578" y="1041"/>
                  <a:pt x="575" y="1050"/>
                  <a:pt x="573" y="1021"/>
                </a:cubicBezTo>
                <a:cubicBezTo>
                  <a:pt x="570" y="991"/>
                  <a:pt x="558" y="984"/>
                  <a:pt x="543" y="960"/>
                </a:cubicBezTo>
                <a:cubicBezTo>
                  <a:pt x="517" y="915"/>
                  <a:pt x="497" y="857"/>
                  <a:pt x="494" y="841"/>
                </a:cubicBezTo>
                <a:cubicBezTo>
                  <a:pt x="490" y="820"/>
                  <a:pt x="470" y="786"/>
                  <a:pt x="448" y="771"/>
                </a:cubicBezTo>
                <a:cubicBezTo>
                  <a:pt x="440" y="765"/>
                  <a:pt x="447" y="761"/>
                  <a:pt x="442" y="753"/>
                </a:cubicBezTo>
                <a:cubicBezTo>
                  <a:pt x="436" y="741"/>
                  <a:pt x="417" y="729"/>
                  <a:pt x="405" y="727"/>
                </a:cubicBezTo>
                <a:cubicBezTo>
                  <a:pt x="397" y="726"/>
                  <a:pt x="380" y="723"/>
                  <a:pt x="368" y="720"/>
                </a:cubicBezTo>
                <a:cubicBezTo>
                  <a:pt x="335" y="713"/>
                  <a:pt x="309" y="719"/>
                  <a:pt x="300" y="737"/>
                </a:cubicBezTo>
                <a:cubicBezTo>
                  <a:pt x="295" y="745"/>
                  <a:pt x="287" y="747"/>
                  <a:pt x="287" y="750"/>
                </a:cubicBezTo>
                <a:cubicBezTo>
                  <a:pt x="287" y="752"/>
                  <a:pt x="275" y="765"/>
                  <a:pt x="268" y="773"/>
                </a:cubicBezTo>
                <a:cubicBezTo>
                  <a:pt x="258" y="784"/>
                  <a:pt x="262" y="789"/>
                  <a:pt x="252" y="789"/>
                </a:cubicBezTo>
                <a:cubicBezTo>
                  <a:pt x="233" y="789"/>
                  <a:pt x="228" y="787"/>
                  <a:pt x="198" y="760"/>
                </a:cubicBezTo>
                <a:cubicBezTo>
                  <a:pt x="158" y="723"/>
                  <a:pt x="142" y="695"/>
                  <a:pt x="141" y="673"/>
                </a:cubicBezTo>
                <a:cubicBezTo>
                  <a:pt x="141" y="664"/>
                  <a:pt x="133" y="619"/>
                  <a:pt x="129" y="608"/>
                </a:cubicBezTo>
                <a:cubicBezTo>
                  <a:pt x="125" y="598"/>
                  <a:pt x="99" y="578"/>
                  <a:pt x="95" y="573"/>
                </a:cubicBezTo>
                <a:cubicBezTo>
                  <a:pt x="88" y="565"/>
                  <a:pt x="109" y="579"/>
                  <a:pt x="74" y="544"/>
                </a:cubicBezTo>
                <a:cubicBezTo>
                  <a:pt x="65" y="535"/>
                  <a:pt x="61" y="526"/>
                  <a:pt x="58" y="518"/>
                </a:cubicBezTo>
                <a:cubicBezTo>
                  <a:pt x="54" y="510"/>
                  <a:pt x="43" y="500"/>
                  <a:pt x="39" y="498"/>
                </a:cubicBezTo>
                <a:cubicBezTo>
                  <a:pt x="35" y="496"/>
                  <a:pt x="34" y="483"/>
                  <a:pt x="31" y="475"/>
                </a:cubicBezTo>
                <a:cubicBezTo>
                  <a:pt x="29" y="468"/>
                  <a:pt x="23" y="459"/>
                  <a:pt x="18" y="453"/>
                </a:cubicBezTo>
                <a:cubicBezTo>
                  <a:pt x="11" y="447"/>
                  <a:pt x="0" y="440"/>
                  <a:pt x="1" y="433"/>
                </a:cubicBezTo>
                <a:cubicBezTo>
                  <a:pt x="3" y="424"/>
                  <a:pt x="5" y="424"/>
                  <a:pt x="28" y="423"/>
                </a:cubicBezTo>
                <a:cubicBezTo>
                  <a:pt x="41" y="423"/>
                  <a:pt x="71" y="426"/>
                  <a:pt x="93" y="430"/>
                </a:cubicBezTo>
                <a:cubicBezTo>
                  <a:pt x="137" y="438"/>
                  <a:pt x="151" y="440"/>
                  <a:pt x="175" y="444"/>
                </a:cubicBezTo>
                <a:cubicBezTo>
                  <a:pt x="183" y="445"/>
                  <a:pt x="197" y="448"/>
                  <a:pt x="206" y="450"/>
                </a:cubicBezTo>
                <a:cubicBezTo>
                  <a:pt x="215" y="452"/>
                  <a:pt x="231" y="454"/>
                  <a:pt x="242" y="456"/>
                </a:cubicBezTo>
                <a:cubicBezTo>
                  <a:pt x="253" y="457"/>
                  <a:pt x="263" y="459"/>
                  <a:pt x="264" y="460"/>
                </a:cubicBezTo>
                <a:cubicBezTo>
                  <a:pt x="270" y="463"/>
                  <a:pt x="316" y="466"/>
                  <a:pt x="316" y="463"/>
                </a:cubicBezTo>
                <a:cubicBezTo>
                  <a:pt x="316" y="461"/>
                  <a:pt x="319" y="444"/>
                  <a:pt x="322" y="426"/>
                </a:cubicBezTo>
                <a:cubicBezTo>
                  <a:pt x="326" y="407"/>
                  <a:pt x="329" y="386"/>
                  <a:pt x="330" y="380"/>
                </a:cubicBezTo>
                <a:cubicBezTo>
                  <a:pt x="331" y="373"/>
                  <a:pt x="340" y="317"/>
                  <a:pt x="350" y="256"/>
                </a:cubicBezTo>
                <a:cubicBezTo>
                  <a:pt x="360" y="194"/>
                  <a:pt x="369" y="137"/>
                  <a:pt x="371" y="130"/>
                </a:cubicBezTo>
                <a:cubicBezTo>
                  <a:pt x="372" y="123"/>
                  <a:pt x="374" y="113"/>
                  <a:pt x="374" y="108"/>
                </a:cubicBezTo>
                <a:cubicBezTo>
                  <a:pt x="375" y="104"/>
                  <a:pt x="377" y="93"/>
                  <a:pt x="378" y="86"/>
                </a:cubicBezTo>
                <a:cubicBezTo>
                  <a:pt x="379" y="78"/>
                  <a:pt x="381" y="67"/>
                  <a:pt x="382" y="62"/>
                </a:cubicBezTo>
                <a:cubicBezTo>
                  <a:pt x="383" y="56"/>
                  <a:pt x="385" y="45"/>
                  <a:pt x="386" y="36"/>
                </a:cubicBezTo>
                <a:cubicBezTo>
                  <a:pt x="388" y="27"/>
                  <a:pt x="390" y="17"/>
                  <a:pt x="390" y="14"/>
                </a:cubicBezTo>
                <a:cubicBezTo>
                  <a:pt x="391" y="10"/>
                  <a:pt x="392" y="6"/>
                  <a:pt x="392" y="3"/>
                </a:cubicBezTo>
                <a:cubicBezTo>
                  <a:pt x="392" y="0"/>
                  <a:pt x="402" y="0"/>
                  <a:pt x="426" y="4"/>
                </a:cubicBezTo>
                <a:cubicBezTo>
                  <a:pt x="445" y="7"/>
                  <a:pt x="472" y="10"/>
                  <a:pt x="485" y="11"/>
                </a:cubicBezTo>
                <a:cubicBezTo>
                  <a:pt x="499" y="13"/>
                  <a:pt x="513" y="15"/>
                  <a:pt x="516" y="16"/>
                </a:cubicBezTo>
                <a:cubicBezTo>
                  <a:pt x="519" y="16"/>
                  <a:pt x="532" y="18"/>
                  <a:pt x="544" y="20"/>
                </a:cubicBezTo>
                <a:cubicBezTo>
                  <a:pt x="556" y="21"/>
                  <a:pt x="577" y="24"/>
                  <a:pt x="590" y="26"/>
                </a:cubicBezTo>
                <a:cubicBezTo>
                  <a:pt x="603" y="28"/>
                  <a:pt x="616" y="30"/>
                  <a:pt x="618" y="30"/>
                </a:cubicBezTo>
                <a:cubicBezTo>
                  <a:pt x="619" y="30"/>
                  <a:pt x="620" y="44"/>
                  <a:pt x="619" y="61"/>
                </a:cubicBezTo>
                <a:cubicBezTo>
                  <a:pt x="613" y="126"/>
                  <a:pt x="604" y="224"/>
                  <a:pt x="602" y="230"/>
                </a:cubicBezTo>
                <a:cubicBezTo>
                  <a:pt x="600" y="239"/>
                  <a:pt x="606" y="243"/>
                  <a:pt x="632" y="252"/>
                </a:cubicBezTo>
                <a:cubicBezTo>
                  <a:pt x="645" y="256"/>
                  <a:pt x="658" y="263"/>
                  <a:pt x="663" y="270"/>
                </a:cubicBezTo>
                <a:cubicBezTo>
                  <a:pt x="672" y="281"/>
                  <a:pt x="695" y="289"/>
                  <a:pt x="728" y="292"/>
                </a:cubicBezTo>
                <a:cubicBezTo>
                  <a:pt x="747" y="294"/>
                  <a:pt x="767" y="305"/>
                  <a:pt x="775" y="317"/>
                </a:cubicBezTo>
                <a:cubicBezTo>
                  <a:pt x="778" y="322"/>
                  <a:pt x="784" y="326"/>
                  <a:pt x="791" y="326"/>
                </a:cubicBezTo>
                <a:cubicBezTo>
                  <a:pt x="797" y="326"/>
                  <a:pt x="812" y="329"/>
                  <a:pt x="824" y="334"/>
                </a:cubicBezTo>
                <a:cubicBezTo>
                  <a:pt x="844" y="342"/>
                  <a:pt x="853" y="342"/>
                  <a:pt x="928" y="341"/>
                </a:cubicBezTo>
                <a:cubicBezTo>
                  <a:pt x="1018" y="340"/>
                  <a:pt x="1016" y="339"/>
                  <a:pt x="1055" y="367"/>
                </a:cubicBezTo>
                <a:cubicBezTo>
                  <a:pt x="1065" y="373"/>
                  <a:pt x="1079" y="380"/>
                  <a:pt x="1086" y="382"/>
                </a:cubicBezTo>
                <a:cubicBezTo>
                  <a:pt x="1100" y="386"/>
                  <a:pt x="1100" y="386"/>
                  <a:pt x="1100" y="386"/>
                </a:cubicBezTo>
                <a:cubicBezTo>
                  <a:pt x="1100" y="473"/>
                  <a:pt x="1100" y="473"/>
                  <a:pt x="1100" y="473"/>
                </a:cubicBezTo>
                <a:cubicBezTo>
                  <a:pt x="1100" y="560"/>
                  <a:pt x="1100" y="560"/>
                  <a:pt x="1100" y="560"/>
                </a:cubicBezTo>
                <a:cubicBezTo>
                  <a:pt x="1112" y="586"/>
                  <a:pt x="1112" y="586"/>
                  <a:pt x="1112" y="586"/>
                </a:cubicBezTo>
                <a:cubicBezTo>
                  <a:pt x="1118" y="600"/>
                  <a:pt x="1126" y="623"/>
                  <a:pt x="1128" y="636"/>
                </a:cubicBezTo>
                <a:cubicBezTo>
                  <a:pt x="1132" y="658"/>
                  <a:pt x="1132" y="662"/>
                  <a:pt x="1125" y="676"/>
                </a:cubicBezTo>
                <a:cubicBezTo>
                  <a:pt x="1121" y="685"/>
                  <a:pt x="1116" y="703"/>
                  <a:pt x="1114" y="718"/>
                </a:cubicBezTo>
                <a:cubicBezTo>
                  <a:pt x="1113" y="732"/>
                  <a:pt x="1108" y="753"/>
                  <a:pt x="1104" y="764"/>
                </a:cubicBezTo>
                <a:cubicBezTo>
                  <a:pt x="1100" y="775"/>
                  <a:pt x="1096" y="789"/>
                  <a:pt x="1094" y="797"/>
                </a:cubicBezTo>
                <a:cubicBezTo>
                  <a:pt x="1092" y="807"/>
                  <a:pt x="1089" y="810"/>
                  <a:pt x="1082" y="810"/>
                </a:cubicBezTo>
                <a:cubicBezTo>
                  <a:pt x="1067" y="810"/>
                  <a:pt x="1045" y="821"/>
                  <a:pt x="1030" y="837"/>
                </a:cubicBezTo>
                <a:cubicBezTo>
                  <a:pt x="1015" y="854"/>
                  <a:pt x="973" y="879"/>
                  <a:pt x="924" y="902"/>
                </a:cubicBezTo>
                <a:cubicBezTo>
                  <a:pt x="897" y="914"/>
                  <a:pt x="874" y="927"/>
                  <a:pt x="868" y="933"/>
                </a:cubicBezTo>
                <a:cubicBezTo>
                  <a:pt x="867" y="935"/>
                  <a:pt x="857" y="943"/>
                  <a:pt x="846" y="951"/>
                </a:cubicBezTo>
                <a:cubicBezTo>
                  <a:pt x="821" y="971"/>
                  <a:pt x="809" y="985"/>
                  <a:pt x="785" y="1018"/>
                </a:cubicBezTo>
                <a:cubicBezTo>
                  <a:pt x="767" y="1044"/>
                  <a:pt x="767" y="1046"/>
                  <a:pt x="768" y="1072"/>
                </a:cubicBezTo>
                <a:cubicBezTo>
                  <a:pt x="768" y="1087"/>
                  <a:pt x="770" y="1105"/>
                  <a:pt x="772" y="1112"/>
                </a:cubicBezTo>
                <a:cubicBezTo>
                  <a:pt x="776" y="1125"/>
                  <a:pt x="770" y="1170"/>
                  <a:pt x="767" y="1178"/>
                </a:cubicBezTo>
                <a:cubicBezTo>
                  <a:pt x="763" y="1186"/>
                  <a:pt x="768" y="1202"/>
                  <a:pt x="745" y="1185"/>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522" name="Freeform 121"/>
          <p:cNvSpPr>
            <a:spLocks noEditPoints="1"/>
          </p:cNvSpPr>
          <p:nvPr userDrawn="1"/>
        </p:nvSpPr>
        <p:spPr bwMode="black">
          <a:xfrm>
            <a:off x="1169355" y="2100152"/>
            <a:ext cx="698500" cy="871539"/>
          </a:xfrm>
          <a:custGeom>
            <a:avLst/>
            <a:gdLst>
              <a:gd name="T0" fmla="*/ 151 w 486"/>
              <a:gd name="T1" fmla="*/ 0 h 607"/>
              <a:gd name="T2" fmla="*/ 146 w 486"/>
              <a:gd name="T3" fmla="*/ 5 h 607"/>
              <a:gd name="T4" fmla="*/ 126 w 486"/>
              <a:gd name="T5" fmla="*/ 74 h 607"/>
              <a:gd name="T6" fmla="*/ 93 w 486"/>
              <a:gd name="T7" fmla="*/ 186 h 607"/>
              <a:gd name="T8" fmla="*/ 65 w 486"/>
              <a:gd name="T9" fmla="*/ 284 h 607"/>
              <a:gd name="T10" fmla="*/ 37 w 486"/>
              <a:gd name="T11" fmla="*/ 380 h 607"/>
              <a:gd name="T12" fmla="*/ 19 w 486"/>
              <a:gd name="T13" fmla="*/ 440 h 607"/>
              <a:gd name="T14" fmla="*/ 8 w 486"/>
              <a:gd name="T15" fmla="*/ 480 h 607"/>
              <a:gd name="T16" fmla="*/ 0 w 486"/>
              <a:gd name="T17" fmla="*/ 508 h 607"/>
              <a:gd name="T18" fmla="*/ 193 w 486"/>
              <a:gd name="T19" fmla="*/ 557 h 607"/>
              <a:gd name="T20" fmla="*/ 395 w 486"/>
              <a:gd name="T21" fmla="*/ 604 h 607"/>
              <a:gd name="T22" fmla="*/ 423 w 486"/>
              <a:gd name="T23" fmla="*/ 477 h 607"/>
              <a:gd name="T24" fmla="*/ 454 w 486"/>
              <a:gd name="T25" fmla="*/ 342 h 607"/>
              <a:gd name="T26" fmla="*/ 468 w 486"/>
              <a:gd name="T27" fmla="*/ 278 h 607"/>
              <a:gd name="T28" fmla="*/ 482 w 486"/>
              <a:gd name="T29" fmla="*/ 214 h 607"/>
              <a:gd name="T30" fmla="*/ 485 w 486"/>
              <a:gd name="T31" fmla="*/ 201 h 607"/>
              <a:gd name="T32" fmla="*/ 470 w 486"/>
              <a:gd name="T33" fmla="*/ 195 h 607"/>
              <a:gd name="T34" fmla="*/ 327 w 486"/>
              <a:gd name="T35" fmla="*/ 164 h 607"/>
              <a:gd name="T36" fmla="*/ 325 w 486"/>
              <a:gd name="T37" fmla="*/ 155 h 607"/>
              <a:gd name="T38" fmla="*/ 349 w 486"/>
              <a:gd name="T39" fmla="*/ 66 h 607"/>
              <a:gd name="T40" fmla="*/ 158 w 486"/>
              <a:gd name="T41" fmla="*/ 1 h 607"/>
              <a:gd name="T42" fmla="*/ 151 w 486"/>
              <a:gd name="T43" fmla="*/ 0 h 607"/>
              <a:gd name="T44" fmla="*/ 201 w 486"/>
              <a:gd name="T45" fmla="*/ 55 h 607"/>
              <a:gd name="T46" fmla="*/ 206 w 486"/>
              <a:gd name="T47" fmla="*/ 55 h 607"/>
              <a:gd name="T48" fmla="*/ 235 w 486"/>
              <a:gd name="T49" fmla="*/ 93 h 607"/>
              <a:gd name="T50" fmla="*/ 251 w 486"/>
              <a:gd name="T51" fmla="*/ 100 h 607"/>
              <a:gd name="T52" fmla="*/ 264 w 486"/>
              <a:gd name="T53" fmla="*/ 110 h 607"/>
              <a:gd name="T54" fmla="*/ 267 w 486"/>
              <a:gd name="T55" fmla="*/ 130 h 607"/>
              <a:gd name="T56" fmla="*/ 253 w 486"/>
              <a:gd name="T57" fmla="*/ 157 h 607"/>
              <a:gd name="T58" fmla="*/ 218 w 486"/>
              <a:gd name="T59" fmla="*/ 155 h 607"/>
              <a:gd name="T60" fmla="*/ 194 w 486"/>
              <a:gd name="T61" fmla="*/ 82 h 607"/>
              <a:gd name="T62" fmla="*/ 201 w 486"/>
              <a:gd name="T63" fmla="*/ 55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6" h="607">
                <a:moveTo>
                  <a:pt x="151" y="0"/>
                </a:moveTo>
                <a:cubicBezTo>
                  <a:pt x="148" y="0"/>
                  <a:pt x="146" y="2"/>
                  <a:pt x="146" y="5"/>
                </a:cubicBezTo>
                <a:cubicBezTo>
                  <a:pt x="144" y="9"/>
                  <a:pt x="136" y="39"/>
                  <a:pt x="126" y="74"/>
                </a:cubicBezTo>
                <a:cubicBezTo>
                  <a:pt x="116" y="108"/>
                  <a:pt x="101" y="158"/>
                  <a:pt x="93" y="186"/>
                </a:cubicBezTo>
                <a:cubicBezTo>
                  <a:pt x="85" y="213"/>
                  <a:pt x="72" y="257"/>
                  <a:pt x="65" y="284"/>
                </a:cubicBezTo>
                <a:cubicBezTo>
                  <a:pt x="57" y="310"/>
                  <a:pt x="44" y="353"/>
                  <a:pt x="37" y="380"/>
                </a:cubicBezTo>
                <a:cubicBezTo>
                  <a:pt x="29" y="406"/>
                  <a:pt x="21" y="433"/>
                  <a:pt x="19" y="440"/>
                </a:cubicBezTo>
                <a:cubicBezTo>
                  <a:pt x="17" y="446"/>
                  <a:pt x="12" y="464"/>
                  <a:pt x="8" y="480"/>
                </a:cubicBezTo>
                <a:cubicBezTo>
                  <a:pt x="3" y="495"/>
                  <a:pt x="0" y="508"/>
                  <a:pt x="0" y="508"/>
                </a:cubicBezTo>
                <a:cubicBezTo>
                  <a:pt x="1" y="508"/>
                  <a:pt x="88" y="530"/>
                  <a:pt x="193" y="557"/>
                </a:cubicBezTo>
                <a:cubicBezTo>
                  <a:pt x="382" y="604"/>
                  <a:pt x="395" y="607"/>
                  <a:pt x="395" y="604"/>
                </a:cubicBezTo>
                <a:cubicBezTo>
                  <a:pt x="395" y="603"/>
                  <a:pt x="408" y="546"/>
                  <a:pt x="423" y="477"/>
                </a:cubicBezTo>
                <a:cubicBezTo>
                  <a:pt x="439" y="408"/>
                  <a:pt x="453" y="347"/>
                  <a:pt x="454" y="342"/>
                </a:cubicBezTo>
                <a:cubicBezTo>
                  <a:pt x="455" y="336"/>
                  <a:pt x="461" y="308"/>
                  <a:pt x="468" y="278"/>
                </a:cubicBezTo>
                <a:cubicBezTo>
                  <a:pt x="474" y="249"/>
                  <a:pt x="481" y="220"/>
                  <a:pt x="482" y="214"/>
                </a:cubicBezTo>
                <a:cubicBezTo>
                  <a:pt x="483" y="209"/>
                  <a:pt x="484" y="203"/>
                  <a:pt x="485" y="201"/>
                </a:cubicBezTo>
                <a:cubicBezTo>
                  <a:pt x="486" y="200"/>
                  <a:pt x="479" y="197"/>
                  <a:pt x="470" y="195"/>
                </a:cubicBezTo>
                <a:cubicBezTo>
                  <a:pt x="437" y="190"/>
                  <a:pt x="332" y="166"/>
                  <a:pt x="327" y="164"/>
                </a:cubicBezTo>
                <a:cubicBezTo>
                  <a:pt x="325" y="162"/>
                  <a:pt x="324" y="158"/>
                  <a:pt x="325" y="155"/>
                </a:cubicBezTo>
                <a:cubicBezTo>
                  <a:pt x="328" y="146"/>
                  <a:pt x="348" y="72"/>
                  <a:pt x="349" y="66"/>
                </a:cubicBezTo>
                <a:cubicBezTo>
                  <a:pt x="349" y="62"/>
                  <a:pt x="282" y="39"/>
                  <a:pt x="158" y="1"/>
                </a:cubicBezTo>
                <a:cubicBezTo>
                  <a:pt x="155" y="0"/>
                  <a:pt x="153" y="0"/>
                  <a:pt x="151" y="0"/>
                </a:cubicBezTo>
                <a:close/>
                <a:moveTo>
                  <a:pt x="201" y="55"/>
                </a:moveTo>
                <a:cubicBezTo>
                  <a:pt x="202" y="54"/>
                  <a:pt x="204" y="55"/>
                  <a:pt x="206" y="55"/>
                </a:cubicBezTo>
                <a:cubicBezTo>
                  <a:pt x="220" y="59"/>
                  <a:pt x="235" y="77"/>
                  <a:pt x="235" y="93"/>
                </a:cubicBezTo>
                <a:cubicBezTo>
                  <a:pt x="235" y="107"/>
                  <a:pt x="243" y="110"/>
                  <a:pt x="251" y="100"/>
                </a:cubicBezTo>
                <a:cubicBezTo>
                  <a:pt x="258" y="92"/>
                  <a:pt x="267" y="99"/>
                  <a:pt x="264" y="110"/>
                </a:cubicBezTo>
                <a:cubicBezTo>
                  <a:pt x="263" y="114"/>
                  <a:pt x="264" y="123"/>
                  <a:pt x="267" y="130"/>
                </a:cubicBezTo>
                <a:cubicBezTo>
                  <a:pt x="272" y="144"/>
                  <a:pt x="268" y="152"/>
                  <a:pt x="253" y="157"/>
                </a:cubicBezTo>
                <a:cubicBezTo>
                  <a:pt x="231" y="166"/>
                  <a:pt x="229" y="166"/>
                  <a:pt x="218" y="155"/>
                </a:cubicBezTo>
                <a:cubicBezTo>
                  <a:pt x="198" y="132"/>
                  <a:pt x="191" y="114"/>
                  <a:pt x="194" y="82"/>
                </a:cubicBezTo>
                <a:cubicBezTo>
                  <a:pt x="196" y="61"/>
                  <a:pt x="196" y="55"/>
                  <a:pt x="201" y="55"/>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523" name="Freeform 122"/>
          <p:cNvSpPr>
            <a:spLocks/>
          </p:cNvSpPr>
          <p:nvPr userDrawn="1"/>
        </p:nvSpPr>
        <p:spPr bwMode="black">
          <a:xfrm>
            <a:off x="4819019" y="2781191"/>
            <a:ext cx="858839" cy="463551"/>
          </a:xfrm>
          <a:custGeom>
            <a:avLst/>
            <a:gdLst>
              <a:gd name="T0" fmla="*/ 25 w 597"/>
              <a:gd name="T1" fmla="*/ 290 h 323"/>
              <a:gd name="T2" fmla="*/ 87 w 597"/>
              <a:gd name="T3" fmla="*/ 238 h 323"/>
              <a:gd name="T4" fmla="*/ 93 w 597"/>
              <a:gd name="T5" fmla="*/ 244 h 323"/>
              <a:gd name="T6" fmla="*/ 107 w 597"/>
              <a:gd name="T7" fmla="*/ 249 h 323"/>
              <a:gd name="T8" fmla="*/ 166 w 597"/>
              <a:gd name="T9" fmla="*/ 237 h 323"/>
              <a:gd name="T10" fmla="*/ 215 w 597"/>
              <a:gd name="T11" fmla="*/ 210 h 323"/>
              <a:gd name="T12" fmla="*/ 228 w 597"/>
              <a:gd name="T13" fmla="*/ 188 h 323"/>
              <a:gd name="T14" fmla="*/ 249 w 597"/>
              <a:gd name="T15" fmla="*/ 144 h 323"/>
              <a:gd name="T16" fmla="*/ 265 w 597"/>
              <a:gd name="T17" fmla="*/ 107 h 323"/>
              <a:gd name="T18" fmla="*/ 283 w 597"/>
              <a:gd name="T19" fmla="*/ 102 h 323"/>
              <a:gd name="T20" fmla="*/ 315 w 597"/>
              <a:gd name="T21" fmla="*/ 79 h 323"/>
              <a:gd name="T22" fmla="*/ 339 w 597"/>
              <a:gd name="T23" fmla="*/ 42 h 323"/>
              <a:gd name="T24" fmla="*/ 361 w 597"/>
              <a:gd name="T25" fmla="*/ 20 h 323"/>
              <a:gd name="T26" fmla="*/ 371 w 597"/>
              <a:gd name="T27" fmla="*/ 12 h 323"/>
              <a:gd name="T28" fmla="*/ 405 w 597"/>
              <a:gd name="T29" fmla="*/ 8 h 323"/>
              <a:gd name="T30" fmla="*/ 417 w 597"/>
              <a:gd name="T31" fmla="*/ 8 h 323"/>
              <a:gd name="T32" fmla="*/ 429 w 597"/>
              <a:gd name="T33" fmla="*/ 16 h 323"/>
              <a:gd name="T34" fmla="*/ 447 w 597"/>
              <a:gd name="T35" fmla="*/ 22 h 323"/>
              <a:gd name="T36" fmla="*/ 455 w 597"/>
              <a:gd name="T37" fmla="*/ 38 h 323"/>
              <a:gd name="T38" fmla="*/ 455 w 597"/>
              <a:gd name="T39" fmla="*/ 64 h 323"/>
              <a:gd name="T40" fmla="*/ 487 w 597"/>
              <a:gd name="T41" fmla="*/ 91 h 323"/>
              <a:gd name="T42" fmla="*/ 522 w 597"/>
              <a:gd name="T43" fmla="*/ 106 h 323"/>
              <a:gd name="T44" fmla="*/ 537 w 597"/>
              <a:gd name="T45" fmla="*/ 126 h 323"/>
              <a:gd name="T46" fmla="*/ 545 w 597"/>
              <a:gd name="T47" fmla="*/ 144 h 323"/>
              <a:gd name="T48" fmla="*/ 557 w 597"/>
              <a:gd name="T49" fmla="*/ 176 h 323"/>
              <a:gd name="T50" fmla="*/ 570 w 597"/>
              <a:gd name="T51" fmla="*/ 206 h 323"/>
              <a:gd name="T52" fmla="*/ 597 w 597"/>
              <a:gd name="T53" fmla="*/ 240 h 323"/>
              <a:gd name="T54" fmla="*/ 592 w 597"/>
              <a:gd name="T55" fmla="*/ 248 h 323"/>
              <a:gd name="T56" fmla="*/ 539 w 597"/>
              <a:gd name="T57" fmla="*/ 258 h 323"/>
              <a:gd name="T58" fmla="*/ 357 w 597"/>
              <a:gd name="T59" fmla="*/ 286 h 323"/>
              <a:gd name="T60" fmla="*/ 329 w 597"/>
              <a:gd name="T61" fmla="*/ 290 h 323"/>
              <a:gd name="T62" fmla="*/ 301 w 597"/>
              <a:gd name="T63" fmla="*/ 293 h 323"/>
              <a:gd name="T64" fmla="*/ 271 w 597"/>
              <a:gd name="T65" fmla="*/ 297 h 323"/>
              <a:gd name="T66" fmla="*/ 183 w 597"/>
              <a:gd name="T67" fmla="*/ 308 h 323"/>
              <a:gd name="T68" fmla="*/ 123 w 597"/>
              <a:gd name="T69" fmla="*/ 314 h 323"/>
              <a:gd name="T70" fmla="*/ 59 w 597"/>
              <a:gd name="T71" fmla="*/ 318 h 323"/>
              <a:gd name="T72" fmla="*/ 4 w 597"/>
              <a:gd name="T73" fmla="*/ 322 h 323"/>
              <a:gd name="T74" fmla="*/ 25 w 597"/>
              <a:gd name="T75" fmla="*/ 29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97" h="323">
                <a:moveTo>
                  <a:pt x="25" y="290"/>
                </a:moveTo>
                <a:cubicBezTo>
                  <a:pt x="57" y="251"/>
                  <a:pt x="78" y="234"/>
                  <a:pt x="87" y="238"/>
                </a:cubicBezTo>
                <a:cubicBezTo>
                  <a:pt x="90" y="239"/>
                  <a:pt x="93" y="242"/>
                  <a:pt x="93" y="244"/>
                </a:cubicBezTo>
                <a:cubicBezTo>
                  <a:pt x="93" y="245"/>
                  <a:pt x="99" y="248"/>
                  <a:pt x="107" y="249"/>
                </a:cubicBezTo>
                <a:cubicBezTo>
                  <a:pt x="117" y="251"/>
                  <a:pt x="132" y="248"/>
                  <a:pt x="166" y="237"/>
                </a:cubicBezTo>
                <a:cubicBezTo>
                  <a:pt x="206" y="224"/>
                  <a:pt x="211" y="221"/>
                  <a:pt x="215" y="210"/>
                </a:cubicBezTo>
                <a:cubicBezTo>
                  <a:pt x="218" y="203"/>
                  <a:pt x="224" y="193"/>
                  <a:pt x="228" y="188"/>
                </a:cubicBezTo>
                <a:cubicBezTo>
                  <a:pt x="232" y="182"/>
                  <a:pt x="242" y="162"/>
                  <a:pt x="249" y="144"/>
                </a:cubicBezTo>
                <a:cubicBezTo>
                  <a:pt x="256" y="125"/>
                  <a:pt x="263" y="108"/>
                  <a:pt x="265" y="107"/>
                </a:cubicBezTo>
                <a:cubicBezTo>
                  <a:pt x="266" y="105"/>
                  <a:pt x="274" y="103"/>
                  <a:pt x="283" y="102"/>
                </a:cubicBezTo>
                <a:cubicBezTo>
                  <a:pt x="310" y="98"/>
                  <a:pt x="312" y="96"/>
                  <a:pt x="315" y="79"/>
                </a:cubicBezTo>
                <a:cubicBezTo>
                  <a:pt x="317" y="65"/>
                  <a:pt x="321" y="58"/>
                  <a:pt x="339" y="42"/>
                </a:cubicBezTo>
                <a:cubicBezTo>
                  <a:pt x="351" y="32"/>
                  <a:pt x="361" y="22"/>
                  <a:pt x="361" y="20"/>
                </a:cubicBezTo>
                <a:cubicBezTo>
                  <a:pt x="359" y="10"/>
                  <a:pt x="362" y="8"/>
                  <a:pt x="371" y="12"/>
                </a:cubicBezTo>
                <a:cubicBezTo>
                  <a:pt x="388" y="18"/>
                  <a:pt x="400" y="16"/>
                  <a:pt x="405" y="8"/>
                </a:cubicBezTo>
                <a:cubicBezTo>
                  <a:pt x="409" y="0"/>
                  <a:pt x="409" y="0"/>
                  <a:pt x="417" y="8"/>
                </a:cubicBezTo>
                <a:cubicBezTo>
                  <a:pt x="422" y="12"/>
                  <a:pt x="427" y="16"/>
                  <a:pt x="429" y="16"/>
                </a:cubicBezTo>
                <a:cubicBezTo>
                  <a:pt x="431" y="16"/>
                  <a:pt x="439" y="18"/>
                  <a:pt x="447" y="22"/>
                </a:cubicBezTo>
                <a:cubicBezTo>
                  <a:pt x="461" y="28"/>
                  <a:pt x="461" y="28"/>
                  <a:pt x="455" y="38"/>
                </a:cubicBezTo>
                <a:cubicBezTo>
                  <a:pt x="448" y="47"/>
                  <a:pt x="449" y="49"/>
                  <a:pt x="455" y="64"/>
                </a:cubicBezTo>
                <a:cubicBezTo>
                  <a:pt x="461" y="76"/>
                  <a:pt x="467" y="82"/>
                  <a:pt x="487" y="91"/>
                </a:cubicBezTo>
                <a:cubicBezTo>
                  <a:pt x="500" y="98"/>
                  <a:pt x="516" y="104"/>
                  <a:pt x="522" y="106"/>
                </a:cubicBezTo>
                <a:cubicBezTo>
                  <a:pt x="535" y="109"/>
                  <a:pt x="543" y="120"/>
                  <a:pt x="537" y="126"/>
                </a:cubicBezTo>
                <a:cubicBezTo>
                  <a:pt x="535" y="129"/>
                  <a:pt x="538" y="135"/>
                  <a:pt x="545" y="144"/>
                </a:cubicBezTo>
                <a:cubicBezTo>
                  <a:pt x="554" y="155"/>
                  <a:pt x="557" y="161"/>
                  <a:pt x="557" y="176"/>
                </a:cubicBezTo>
                <a:cubicBezTo>
                  <a:pt x="557" y="192"/>
                  <a:pt x="559" y="197"/>
                  <a:pt x="570" y="206"/>
                </a:cubicBezTo>
                <a:cubicBezTo>
                  <a:pt x="595" y="229"/>
                  <a:pt x="597" y="232"/>
                  <a:pt x="597" y="240"/>
                </a:cubicBezTo>
                <a:cubicBezTo>
                  <a:pt x="597" y="244"/>
                  <a:pt x="595" y="248"/>
                  <a:pt x="592" y="248"/>
                </a:cubicBezTo>
                <a:cubicBezTo>
                  <a:pt x="585" y="248"/>
                  <a:pt x="570" y="251"/>
                  <a:pt x="539" y="258"/>
                </a:cubicBezTo>
                <a:cubicBezTo>
                  <a:pt x="511" y="264"/>
                  <a:pt x="399" y="281"/>
                  <a:pt x="357" y="286"/>
                </a:cubicBezTo>
                <a:cubicBezTo>
                  <a:pt x="345" y="287"/>
                  <a:pt x="332" y="289"/>
                  <a:pt x="329" y="290"/>
                </a:cubicBezTo>
                <a:cubicBezTo>
                  <a:pt x="326" y="290"/>
                  <a:pt x="313" y="292"/>
                  <a:pt x="301" y="293"/>
                </a:cubicBezTo>
                <a:cubicBezTo>
                  <a:pt x="288" y="295"/>
                  <a:pt x="275" y="296"/>
                  <a:pt x="271" y="297"/>
                </a:cubicBezTo>
                <a:cubicBezTo>
                  <a:pt x="257" y="300"/>
                  <a:pt x="228" y="303"/>
                  <a:pt x="183" y="308"/>
                </a:cubicBezTo>
                <a:cubicBezTo>
                  <a:pt x="159" y="310"/>
                  <a:pt x="132" y="313"/>
                  <a:pt x="123" y="314"/>
                </a:cubicBezTo>
                <a:cubicBezTo>
                  <a:pt x="114" y="314"/>
                  <a:pt x="86" y="316"/>
                  <a:pt x="59" y="318"/>
                </a:cubicBezTo>
                <a:cubicBezTo>
                  <a:pt x="33" y="319"/>
                  <a:pt x="8" y="321"/>
                  <a:pt x="4" y="322"/>
                </a:cubicBezTo>
                <a:cubicBezTo>
                  <a:pt x="0" y="323"/>
                  <a:pt x="9" y="310"/>
                  <a:pt x="25" y="290"/>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524" name="Freeform 123"/>
          <p:cNvSpPr>
            <a:spLocks/>
          </p:cNvSpPr>
          <p:nvPr userDrawn="1"/>
        </p:nvSpPr>
        <p:spPr bwMode="black">
          <a:xfrm>
            <a:off x="5647695" y="2930416"/>
            <a:ext cx="69851" cy="141288"/>
          </a:xfrm>
          <a:custGeom>
            <a:avLst/>
            <a:gdLst>
              <a:gd name="T0" fmla="*/ 3 w 49"/>
              <a:gd name="T1" fmla="*/ 92 h 98"/>
              <a:gd name="T2" fmla="*/ 12 w 49"/>
              <a:gd name="T3" fmla="*/ 35 h 98"/>
              <a:gd name="T4" fmla="*/ 16 w 49"/>
              <a:gd name="T5" fmla="*/ 12 h 98"/>
              <a:gd name="T6" fmla="*/ 41 w 49"/>
              <a:gd name="T7" fmla="*/ 0 h 98"/>
              <a:gd name="T8" fmla="*/ 47 w 49"/>
              <a:gd name="T9" fmla="*/ 7 h 98"/>
              <a:gd name="T10" fmla="*/ 38 w 49"/>
              <a:gd name="T11" fmla="*/ 31 h 98"/>
              <a:gd name="T12" fmla="*/ 24 w 49"/>
              <a:gd name="T13" fmla="*/ 56 h 98"/>
              <a:gd name="T14" fmla="*/ 22 w 49"/>
              <a:gd name="T15" fmla="*/ 72 h 98"/>
              <a:gd name="T16" fmla="*/ 19 w 49"/>
              <a:gd name="T17" fmla="*/ 85 h 98"/>
              <a:gd name="T18" fmla="*/ 3 w 49"/>
              <a:gd name="T19" fmla="*/ 9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98">
                <a:moveTo>
                  <a:pt x="3" y="92"/>
                </a:moveTo>
                <a:cubicBezTo>
                  <a:pt x="0" y="86"/>
                  <a:pt x="5" y="53"/>
                  <a:pt x="12" y="35"/>
                </a:cubicBezTo>
                <a:cubicBezTo>
                  <a:pt x="15" y="26"/>
                  <a:pt x="17" y="16"/>
                  <a:pt x="16" y="12"/>
                </a:cubicBezTo>
                <a:cubicBezTo>
                  <a:pt x="14" y="4"/>
                  <a:pt x="22" y="0"/>
                  <a:pt x="41" y="0"/>
                </a:cubicBezTo>
                <a:cubicBezTo>
                  <a:pt x="48" y="0"/>
                  <a:pt x="49" y="1"/>
                  <a:pt x="47" y="7"/>
                </a:cubicBezTo>
                <a:cubicBezTo>
                  <a:pt x="45" y="10"/>
                  <a:pt x="41" y="22"/>
                  <a:pt x="38" y="31"/>
                </a:cubicBezTo>
                <a:cubicBezTo>
                  <a:pt x="34" y="41"/>
                  <a:pt x="28" y="52"/>
                  <a:pt x="24" y="56"/>
                </a:cubicBezTo>
                <a:cubicBezTo>
                  <a:pt x="16" y="65"/>
                  <a:pt x="15" y="70"/>
                  <a:pt x="22" y="72"/>
                </a:cubicBezTo>
                <a:cubicBezTo>
                  <a:pt x="25" y="73"/>
                  <a:pt x="24" y="77"/>
                  <a:pt x="19" y="85"/>
                </a:cubicBezTo>
                <a:cubicBezTo>
                  <a:pt x="12" y="96"/>
                  <a:pt x="7" y="98"/>
                  <a:pt x="3" y="92"/>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525" name="Freeform 124"/>
          <p:cNvSpPr>
            <a:spLocks/>
          </p:cNvSpPr>
          <p:nvPr userDrawn="1"/>
        </p:nvSpPr>
        <p:spPr bwMode="black">
          <a:xfrm>
            <a:off x="5738183" y="1803291"/>
            <a:ext cx="168275" cy="334963"/>
          </a:xfrm>
          <a:custGeom>
            <a:avLst/>
            <a:gdLst>
              <a:gd name="T0" fmla="*/ 49 w 117"/>
              <a:gd name="T1" fmla="*/ 224 h 233"/>
              <a:gd name="T2" fmla="*/ 21 w 117"/>
              <a:gd name="T3" fmla="*/ 139 h 233"/>
              <a:gd name="T4" fmla="*/ 12 w 117"/>
              <a:gd name="T5" fmla="*/ 100 h 233"/>
              <a:gd name="T6" fmla="*/ 8 w 117"/>
              <a:gd name="T7" fmla="*/ 61 h 233"/>
              <a:gd name="T8" fmla="*/ 3 w 117"/>
              <a:gd name="T9" fmla="*/ 36 h 233"/>
              <a:gd name="T10" fmla="*/ 0 w 117"/>
              <a:gd name="T11" fmla="*/ 22 h 233"/>
              <a:gd name="T12" fmla="*/ 38 w 117"/>
              <a:gd name="T13" fmla="*/ 13 h 233"/>
              <a:gd name="T14" fmla="*/ 94 w 117"/>
              <a:gd name="T15" fmla="*/ 2 h 233"/>
              <a:gd name="T16" fmla="*/ 112 w 117"/>
              <a:gd name="T17" fmla="*/ 0 h 233"/>
              <a:gd name="T18" fmla="*/ 115 w 117"/>
              <a:gd name="T19" fmla="*/ 18 h 233"/>
              <a:gd name="T20" fmla="*/ 105 w 117"/>
              <a:gd name="T21" fmla="*/ 51 h 233"/>
              <a:gd name="T22" fmla="*/ 93 w 117"/>
              <a:gd name="T23" fmla="*/ 65 h 233"/>
              <a:gd name="T24" fmla="*/ 94 w 117"/>
              <a:gd name="T25" fmla="*/ 147 h 233"/>
              <a:gd name="T26" fmla="*/ 89 w 117"/>
              <a:gd name="T27" fmla="*/ 229 h 233"/>
              <a:gd name="T28" fmla="*/ 66 w 117"/>
              <a:gd name="T29" fmla="*/ 231 h 233"/>
              <a:gd name="T30" fmla="*/ 49 w 117"/>
              <a:gd name="T31" fmla="*/ 22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233">
                <a:moveTo>
                  <a:pt x="49" y="224"/>
                </a:moveTo>
                <a:cubicBezTo>
                  <a:pt x="49" y="207"/>
                  <a:pt x="30" y="148"/>
                  <a:pt x="21" y="139"/>
                </a:cubicBezTo>
                <a:cubicBezTo>
                  <a:pt x="15" y="132"/>
                  <a:pt x="13" y="123"/>
                  <a:pt x="12" y="100"/>
                </a:cubicBezTo>
                <a:cubicBezTo>
                  <a:pt x="11" y="84"/>
                  <a:pt x="9" y="66"/>
                  <a:pt x="8" y="61"/>
                </a:cubicBezTo>
                <a:cubicBezTo>
                  <a:pt x="6" y="55"/>
                  <a:pt x="4" y="44"/>
                  <a:pt x="3" y="36"/>
                </a:cubicBezTo>
                <a:cubicBezTo>
                  <a:pt x="0" y="22"/>
                  <a:pt x="0" y="22"/>
                  <a:pt x="0" y="22"/>
                </a:cubicBezTo>
                <a:cubicBezTo>
                  <a:pt x="38" y="13"/>
                  <a:pt x="38" y="13"/>
                  <a:pt x="38" y="13"/>
                </a:cubicBezTo>
                <a:cubicBezTo>
                  <a:pt x="58" y="8"/>
                  <a:pt x="83" y="3"/>
                  <a:pt x="94" y="2"/>
                </a:cubicBezTo>
                <a:cubicBezTo>
                  <a:pt x="112" y="0"/>
                  <a:pt x="112" y="0"/>
                  <a:pt x="112" y="0"/>
                </a:cubicBezTo>
                <a:cubicBezTo>
                  <a:pt x="115" y="18"/>
                  <a:pt x="115" y="18"/>
                  <a:pt x="115" y="18"/>
                </a:cubicBezTo>
                <a:cubicBezTo>
                  <a:pt x="117" y="35"/>
                  <a:pt x="117" y="38"/>
                  <a:pt x="105" y="51"/>
                </a:cubicBezTo>
                <a:cubicBezTo>
                  <a:pt x="93" y="65"/>
                  <a:pt x="93" y="65"/>
                  <a:pt x="93" y="65"/>
                </a:cubicBezTo>
                <a:cubicBezTo>
                  <a:pt x="94" y="147"/>
                  <a:pt x="94" y="147"/>
                  <a:pt x="94" y="147"/>
                </a:cubicBezTo>
                <a:cubicBezTo>
                  <a:pt x="95" y="217"/>
                  <a:pt x="94" y="229"/>
                  <a:pt x="89" y="229"/>
                </a:cubicBezTo>
                <a:cubicBezTo>
                  <a:pt x="86" y="229"/>
                  <a:pt x="75" y="230"/>
                  <a:pt x="66" y="231"/>
                </a:cubicBezTo>
                <a:cubicBezTo>
                  <a:pt x="50" y="233"/>
                  <a:pt x="49" y="233"/>
                  <a:pt x="49" y="224"/>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526" name="Freeform 125"/>
          <p:cNvSpPr>
            <a:spLocks/>
          </p:cNvSpPr>
          <p:nvPr userDrawn="1"/>
        </p:nvSpPr>
        <p:spPr bwMode="black">
          <a:xfrm>
            <a:off x="570869" y="793641"/>
            <a:ext cx="788988" cy="611188"/>
          </a:xfrm>
          <a:custGeom>
            <a:avLst/>
            <a:gdLst>
              <a:gd name="T0" fmla="*/ 402 w 548"/>
              <a:gd name="T1" fmla="*/ 405 h 426"/>
              <a:gd name="T2" fmla="*/ 261 w 548"/>
              <a:gd name="T3" fmla="*/ 374 h 426"/>
              <a:gd name="T4" fmla="*/ 163 w 548"/>
              <a:gd name="T5" fmla="*/ 351 h 426"/>
              <a:gd name="T6" fmla="*/ 107 w 548"/>
              <a:gd name="T7" fmla="*/ 332 h 426"/>
              <a:gd name="T8" fmla="*/ 76 w 548"/>
              <a:gd name="T9" fmla="*/ 320 h 426"/>
              <a:gd name="T10" fmla="*/ 71 w 548"/>
              <a:gd name="T11" fmla="*/ 293 h 426"/>
              <a:gd name="T12" fmla="*/ 54 w 548"/>
              <a:gd name="T13" fmla="*/ 255 h 426"/>
              <a:gd name="T14" fmla="*/ 19 w 548"/>
              <a:gd name="T15" fmla="*/ 232 h 426"/>
              <a:gd name="T16" fmla="*/ 0 w 548"/>
              <a:gd name="T17" fmla="*/ 228 h 426"/>
              <a:gd name="T18" fmla="*/ 3 w 548"/>
              <a:gd name="T19" fmla="*/ 213 h 426"/>
              <a:gd name="T20" fmla="*/ 31 w 548"/>
              <a:gd name="T21" fmla="*/ 40 h 426"/>
              <a:gd name="T22" fmla="*/ 40 w 548"/>
              <a:gd name="T23" fmla="*/ 7 h 426"/>
              <a:gd name="T24" fmla="*/ 85 w 548"/>
              <a:gd name="T25" fmla="*/ 34 h 426"/>
              <a:gd name="T26" fmla="*/ 165 w 548"/>
              <a:gd name="T27" fmla="*/ 69 h 426"/>
              <a:gd name="T28" fmla="*/ 168 w 548"/>
              <a:gd name="T29" fmla="*/ 57 h 426"/>
              <a:gd name="T30" fmla="*/ 185 w 548"/>
              <a:gd name="T31" fmla="*/ 0 h 426"/>
              <a:gd name="T32" fmla="*/ 210 w 548"/>
              <a:gd name="T33" fmla="*/ 9 h 426"/>
              <a:gd name="T34" fmla="*/ 389 w 548"/>
              <a:gd name="T35" fmla="*/ 78 h 426"/>
              <a:gd name="T36" fmla="*/ 547 w 548"/>
              <a:gd name="T37" fmla="*/ 138 h 426"/>
              <a:gd name="T38" fmla="*/ 530 w 548"/>
              <a:gd name="T39" fmla="*/ 190 h 426"/>
              <a:gd name="T40" fmla="*/ 489 w 548"/>
              <a:gd name="T41" fmla="*/ 306 h 426"/>
              <a:gd name="T42" fmla="*/ 464 w 548"/>
              <a:gd name="T43" fmla="*/ 398 h 426"/>
              <a:gd name="T44" fmla="*/ 461 w 548"/>
              <a:gd name="T45" fmla="*/ 426 h 426"/>
              <a:gd name="T46" fmla="*/ 402 w 548"/>
              <a:gd name="T47" fmla="*/ 405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8" h="426">
                <a:moveTo>
                  <a:pt x="402" y="405"/>
                </a:moveTo>
                <a:cubicBezTo>
                  <a:pt x="344" y="384"/>
                  <a:pt x="317" y="378"/>
                  <a:pt x="261" y="374"/>
                </a:cubicBezTo>
                <a:cubicBezTo>
                  <a:pt x="219" y="371"/>
                  <a:pt x="196" y="365"/>
                  <a:pt x="163" y="351"/>
                </a:cubicBezTo>
                <a:cubicBezTo>
                  <a:pt x="147" y="343"/>
                  <a:pt x="121" y="335"/>
                  <a:pt x="107" y="332"/>
                </a:cubicBezTo>
                <a:cubicBezTo>
                  <a:pt x="93" y="329"/>
                  <a:pt x="79" y="323"/>
                  <a:pt x="76" y="320"/>
                </a:cubicBezTo>
                <a:cubicBezTo>
                  <a:pt x="74" y="316"/>
                  <a:pt x="71" y="304"/>
                  <a:pt x="71" y="293"/>
                </a:cubicBezTo>
                <a:cubicBezTo>
                  <a:pt x="71" y="275"/>
                  <a:pt x="69" y="271"/>
                  <a:pt x="54" y="255"/>
                </a:cubicBezTo>
                <a:cubicBezTo>
                  <a:pt x="42" y="242"/>
                  <a:pt x="32" y="236"/>
                  <a:pt x="19" y="232"/>
                </a:cubicBezTo>
                <a:cubicBezTo>
                  <a:pt x="0" y="228"/>
                  <a:pt x="0" y="228"/>
                  <a:pt x="0" y="228"/>
                </a:cubicBezTo>
                <a:cubicBezTo>
                  <a:pt x="3" y="213"/>
                  <a:pt x="3" y="213"/>
                  <a:pt x="3" y="213"/>
                </a:cubicBezTo>
                <a:cubicBezTo>
                  <a:pt x="7" y="194"/>
                  <a:pt x="26" y="81"/>
                  <a:pt x="31" y="40"/>
                </a:cubicBezTo>
                <a:cubicBezTo>
                  <a:pt x="33" y="24"/>
                  <a:pt x="37" y="9"/>
                  <a:pt x="40" y="7"/>
                </a:cubicBezTo>
                <a:cubicBezTo>
                  <a:pt x="46" y="3"/>
                  <a:pt x="57" y="10"/>
                  <a:pt x="85" y="34"/>
                </a:cubicBezTo>
                <a:cubicBezTo>
                  <a:pt x="102" y="48"/>
                  <a:pt x="150" y="69"/>
                  <a:pt x="165" y="69"/>
                </a:cubicBezTo>
                <a:cubicBezTo>
                  <a:pt x="167" y="70"/>
                  <a:pt x="169" y="64"/>
                  <a:pt x="168" y="57"/>
                </a:cubicBezTo>
                <a:cubicBezTo>
                  <a:pt x="167" y="47"/>
                  <a:pt x="178" y="10"/>
                  <a:pt x="185" y="0"/>
                </a:cubicBezTo>
                <a:cubicBezTo>
                  <a:pt x="186" y="0"/>
                  <a:pt x="197" y="3"/>
                  <a:pt x="210" y="9"/>
                </a:cubicBezTo>
                <a:cubicBezTo>
                  <a:pt x="223" y="14"/>
                  <a:pt x="303" y="45"/>
                  <a:pt x="389" y="78"/>
                </a:cubicBezTo>
                <a:cubicBezTo>
                  <a:pt x="475" y="110"/>
                  <a:pt x="546" y="137"/>
                  <a:pt x="547" y="138"/>
                </a:cubicBezTo>
                <a:cubicBezTo>
                  <a:pt x="548" y="139"/>
                  <a:pt x="540" y="162"/>
                  <a:pt x="530" y="190"/>
                </a:cubicBezTo>
                <a:cubicBezTo>
                  <a:pt x="520" y="219"/>
                  <a:pt x="502" y="270"/>
                  <a:pt x="489" y="306"/>
                </a:cubicBezTo>
                <a:cubicBezTo>
                  <a:pt x="473" y="349"/>
                  <a:pt x="465" y="378"/>
                  <a:pt x="464" y="398"/>
                </a:cubicBezTo>
                <a:cubicBezTo>
                  <a:pt x="461" y="426"/>
                  <a:pt x="461" y="426"/>
                  <a:pt x="461" y="426"/>
                </a:cubicBezTo>
                <a:lnTo>
                  <a:pt x="402" y="405"/>
                </a:ln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527" name="Freeform 126"/>
          <p:cNvSpPr>
            <a:spLocks/>
          </p:cNvSpPr>
          <p:nvPr userDrawn="1"/>
        </p:nvSpPr>
        <p:spPr bwMode="black">
          <a:xfrm>
            <a:off x="3696657" y="1719153"/>
            <a:ext cx="614363" cy="660400"/>
          </a:xfrm>
          <a:custGeom>
            <a:avLst/>
            <a:gdLst>
              <a:gd name="T0" fmla="*/ 211 w 427"/>
              <a:gd name="T1" fmla="*/ 455 h 459"/>
              <a:gd name="T2" fmla="*/ 123 w 427"/>
              <a:gd name="T3" fmla="*/ 401 h 459"/>
              <a:gd name="T4" fmla="*/ 88 w 427"/>
              <a:gd name="T5" fmla="*/ 295 h 459"/>
              <a:gd name="T6" fmla="*/ 40 w 427"/>
              <a:gd name="T7" fmla="*/ 255 h 459"/>
              <a:gd name="T8" fmla="*/ 0 w 427"/>
              <a:gd name="T9" fmla="*/ 219 h 459"/>
              <a:gd name="T10" fmla="*/ 0 w 427"/>
              <a:gd name="T11" fmla="*/ 170 h 459"/>
              <a:gd name="T12" fmla="*/ 7 w 427"/>
              <a:gd name="T13" fmla="*/ 117 h 459"/>
              <a:gd name="T14" fmla="*/ 38 w 427"/>
              <a:gd name="T15" fmla="*/ 75 h 459"/>
              <a:gd name="T16" fmla="*/ 51 w 427"/>
              <a:gd name="T17" fmla="*/ 32 h 459"/>
              <a:gd name="T18" fmla="*/ 131 w 427"/>
              <a:gd name="T19" fmla="*/ 6 h 459"/>
              <a:gd name="T20" fmla="*/ 139 w 427"/>
              <a:gd name="T21" fmla="*/ 13 h 459"/>
              <a:gd name="T22" fmla="*/ 148 w 427"/>
              <a:gd name="T23" fmla="*/ 27 h 459"/>
              <a:gd name="T24" fmla="*/ 179 w 427"/>
              <a:gd name="T25" fmla="*/ 57 h 459"/>
              <a:gd name="T26" fmla="*/ 220 w 427"/>
              <a:gd name="T27" fmla="*/ 77 h 459"/>
              <a:gd name="T28" fmla="*/ 336 w 427"/>
              <a:gd name="T29" fmla="*/ 117 h 459"/>
              <a:gd name="T30" fmla="*/ 375 w 427"/>
              <a:gd name="T31" fmla="*/ 186 h 459"/>
              <a:gd name="T32" fmla="*/ 383 w 427"/>
              <a:gd name="T33" fmla="*/ 203 h 459"/>
              <a:gd name="T34" fmla="*/ 412 w 427"/>
              <a:gd name="T35" fmla="*/ 172 h 459"/>
              <a:gd name="T36" fmla="*/ 423 w 427"/>
              <a:gd name="T37" fmla="*/ 170 h 459"/>
              <a:gd name="T38" fmla="*/ 421 w 427"/>
              <a:gd name="T39" fmla="*/ 190 h 459"/>
              <a:gd name="T40" fmla="*/ 417 w 427"/>
              <a:gd name="T41" fmla="*/ 199 h 459"/>
              <a:gd name="T42" fmla="*/ 397 w 427"/>
              <a:gd name="T43" fmla="*/ 234 h 459"/>
              <a:gd name="T44" fmla="*/ 380 w 427"/>
              <a:gd name="T45" fmla="*/ 296 h 459"/>
              <a:gd name="T46" fmla="*/ 371 w 427"/>
              <a:gd name="T47" fmla="*/ 428 h 459"/>
              <a:gd name="T48" fmla="*/ 374 w 427"/>
              <a:gd name="T49" fmla="*/ 459 h 459"/>
              <a:gd name="T50" fmla="*/ 323 w 427"/>
              <a:gd name="T51" fmla="*/ 458 h 459"/>
              <a:gd name="T52" fmla="*/ 211 w 427"/>
              <a:gd name="T53" fmla="*/ 455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27" h="459">
                <a:moveTo>
                  <a:pt x="211" y="455"/>
                </a:moveTo>
                <a:cubicBezTo>
                  <a:pt x="131" y="452"/>
                  <a:pt x="129" y="451"/>
                  <a:pt x="123" y="401"/>
                </a:cubicBezTo>
                <a:cubicBezTo>
                  <a:pt x="117" y="349"/>
                  <a:pt x="101" y="302"/>
                  <a:pt x="88" y="295"/>
                </a:cubicBezTo>
                <a:cubicBezTo>
                  <a:pt x="83" y="293"/>
                  <a:pt x="61" y="275"/>
                  <a:pt x="40" y="255"/>
                </a:cubicBezTo>
                <a:cubicBezTo>
                  <a:pt x="0" y="219"/>
                  <a:pt x="0" y="219"/>
                  <a:pt x="0" y="219"/>
                </a:cubicBezTo>
                <a:cubicBezTo>
                  <a:pt x="0" y="170"/>
                  <a:pt x="0" y="170"/>
                  <a:pt x="0" y="170"/>
                </a:cubicBezTo>
                <a:cubicBezTo>
                  <a:pt x="0" y="127"/>
                  <a:pt x="1" y="120"/>
                  <a:pt x="7" y="117"/>
                </a:cubicBezTo>
                <a:cubicBezTo>
                  <a:pt x="30" y="103"/>
                  <a:pt x="37" y="94"/>
                  <a:pt x="38" y="75"/>
                </a:cubicBezTo>
                <a:cubicBezTo>
                  <a:pt x="38" y="46"/>
                  <a:pt x="42" y="33"/>
                  <a:pt x="51" y="32"/>
                </a:cubicBezTo>
                <a:cubicBezTo>
                  <a:pt x="66" y="30"/>
                  <a:pt x="127" y="10"/>
                  <a:pt x="131" y="6"/>
                </a:cubicBezTo>
                <a:cubicBezTo>
                  <a:pt x="137" y="0"/>
                  <a:pt x="140" y="2"/>
                  <a:pt x="139" y="13"/>
                </a:cubicBezTo>
                <a:cubicBezTo>
                  <a:pt x="138" y="21"/>
                  <a:pt x="141" y="24"/>
                  <a:pt x="148" y="27"/>
                </a:cubicBezTo>
                <a:cubicBezTo>
                  <a:pt x="161" y="32"/>
                  <a:pt x="175" y="46"/>
                  <a:pt x="179" y="57"/>
                </a:cubicBezTo>
                <a:cubicBezTo>
                  <a:pt x="181" y="64"/>
                  <a:pt x="189" y="68"/>
                  <a:pt x="220" y="77"/>
                </a:cubicBezTo>
                <a:cubicBezTo>
                  <a:pt x="267" y="90"/>
                  <a:pt x="324" y="110"/>
                  <a:pt x="336" y="117"/>
                </a:cubicBezTo>
                <a:cubicBezTo>
                  <a:pt x="348" y="126"/>
                  <a:pt x="372" y="166"/>
                  <a:pt x="375" y="186"/>
                </a:cubicBezTo>
                <a:cubicBezTo>
                  <a:pt x="377" y="195"/>
                  <a:pt x="380" y="203"/>
                  <a:pt x="383" y="203"/>
                </a:cubicBezTo>
                <a:cubicBezTo>
                  <a:pt x="390" y="203"/>
                  <a:pt x="405" y="187"/>
                  <a:pt x="412" y="172"/>
                </a:cubicBezTo>
                <a:cubicBezTo>
                  <a:pt x="419" y="156"/>
                  <a:pt x="427" y="154"/>
                  <a:pt x="423" y="170"/>
                </a:cubicBezTo>
                <a:cubicBezTo>
                  <a:pt x="421" y="176"/>
                  <a:pt x="420" y="185"/>
                  <a:pt x="421" y="190"/>
                </a:cubicBezTo>
                <a:cubicBezTo>
                  <a:pt x="421" y="195"/>
                  <a:pt x="419" y="199"/>
                  <a:pt x="417" y="199"/>
                </a:cubicBezTo>
                <a:cubicBezTo>
                  <a:pt x="409" y="199"/>
                  <a:pt x="401" y="212"/>
                  <a:pt x="397" y="234"/>
                </a:cubicBezTo>
                <a:cubicBezTo>
                  <a:pt x="392" y="264"/>
                  <a:pt x="385" y="287"/>
                  <a:pt x="380" y="296"/>
                </a:cubicBezTo>
                <a:cubicBezTo>
                  <a:pt x="370" y="316"/>
                  <a:pt x="366" y="369"/>
                  <a:pt x="371" y="428"/>
                </a:cubicBezTo>
                <a:cubicBezTo>
                  <a:pt x="374" y="459"/>
                  <a:pt x="374" y="459"/>
                  <a:pt x="374" y="459"/>
                </a:cubicBezTo>
                <a:cubicBezTo>
                  <a:pt x="323" y="458"/>
                  <a:pt x="323" y="458"/>
                  <a:pt x="323" y="458"/>
                </a:cubicBezTo>
                <a:cubicBezTo>
                  <a:pt x="294" y="457"/>
                  <a:pt x="244" y="456"/>
                  <a:pt x="211" y="455"/>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528" name="Freeform 127"/>
          <p:cNvSpPr>
            <a:spLocks/>
          </p:cNvSpPr>
          <p:nvPr userDrawn="1"/>
        </p:nvSpPr>
        <p:spPr bwMode="black">
          <a:xfrm>
            <a:off x="4868233" y="2651017"/>
            <a:ext cx="530225" cy="469900"/>
          </a:xfrm>
          <a:custGeom>
            <a:avLst/>
            <a:gdLst>
              <a:gd name="T0" fmla="*/ 76 w 369"/>
              <a:gd name="T1" fmla="*/ 325 h 327"/>
              <a:gd name="T2" fmla="*/ 1 w 369"/>
              <a:gd name="T3" fmla="*/ 242 h 327"/>
              <a:gd name="T4" fmla="*/ 11 w 369"/>
              <a:gd name="T5" fmla="*/ 215 h 327"/>
              <a:gd name="T6" fmla="*/ 23 w 369"/>
              <a:gd name="T7" fmla="*/ 190 h 327"/>
              <a:gd name="T8" fmla="*/ 37 w 369"/>
              <a:gd name="T9" fmla="*/ 175 h 327"/>
              <a:gd name="T10" fmla="*/ 53 w 369"/>
              <a:gd name="T11" fmla="*/ 156 h 327"/>
              <a:gd name="T12" fmla="*/ 88 w 369"/>
              <a:gd name="T13" fmla="*/ 112 h 327"/>
              <a:gd name="T14" fmla="*/ 123 w 369"/>
              <a:gd name="T15" fmla="*/ 33 h 327"/>
              <a:gd name="T16" fmla="*/ 133 w 369"/>
              <a:gd name="T17" fmla="*/ 30 h 327"/>
              <a:gd name="T18" fmla="*/ 188 w 369"/>
              <a:gd name="T19" fmla="*/ 69 h 327"/>
              <a:gd name="T20" fmla="*/ 225 w 369"/>
              <a:gd name="T21" fmla="*/ 68 h 327"/>
              <a:gd name="T22" fmla="*/ 229 w 369"/>
              <a:gd name="T23" fmla="*/ 88 h 327"/>
              <a:gd name="T24" fmla="*/ 243 w 369"/>
              <a:gd name="T25" fmla="*/ 107 h 327"/>
              <a:gd name="T26" fmla="*/ 276 w 369"/>
              <a:gd name="T27" fmla="*/ 90 h 327"/>
              <a:gd name="T28" fmla="*/ 357 w 369"/>
              <a:gd name="T29" fmla="*/ 69 h 327"/>
              <a:gd name="T30" fmla="*/ 362 w 369"/>
              <a:gd name="T31" fmla="*/ 87 h 327"/>
              <a:gd name="T32" fmla="*/ 339 w 369"/>
              <a:gd name="T33" fmla="*/ 86 h 327"/>
              <a:gd name="T34" fmla="*/ 313 w 369"/>
              <a:gd name="T35" fmla="*/ 97 h 327"/>
              <a:gd name="T36" fmla="*/ 279 w 369"/>
              <a:gd name="T37" fmla="*/ 134 h 327"/>
              <a:gd name="T38" fmla="*/ 269 w 369"/>
              <a:gd name="T39" fmla="*/ 155 h 327"/>
              <a:gd name="T40" fmla="*/ 240 w 369"/>
              <a:gd name="T41" fmla="*/ 179 h 327"/>
              <a:gd name="T42" fmla="*/ 222 w 369"/>
              <a:gd name="T43" fmla="*/ 182 h 327"/>
              <a:gd name="T44" fmla="*/ 206 w 369"/>
              <a:gd name="T45" fmla="*/ 222 h 327"/>
              <a:gd name="T46" fmla="*/ 179 w 369"/>
              <a:gd name="T47" fmla="*/ 277 h 327"/>
              <a:gd name="T48" fmla="*/ 167 w 369"/>
              <a:gd name="T49" fmla="*/ 298 h 327"/>
              <a:gd name="T50" fmla="*/ 103 w 369"/>
              <a:gd name="T51" fmla="*/ 323 h 327"/>
              <a:gd name="T52" fmla="*/ 76 w 369"/>
              <a:gd name="T53" fmla="*/ 32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69" h="327">
                <a:moveTo>
                  <a:pt x="76" y="325"/>
                </a:moveTo>
                <a:cubicBezTo>
                  <a:pt x="50" y="315"/>
                  <a:pt x="4" y="265"/>
                  <a:pt x="1" y="242"/>
                </a:cubicBezTo>
                <a:cubicBezTo>
                  <a:pt x="0" y="233"/>
                  <a:pt x="3" y="226"/>
                  <a:pt x="11" y="215"/>
                </a:cubicBezTo>
                <a:cubicBezTo>
                  <a:pt x="18" y="206"/>
                  <a:pt x="23" y="195"/>
                  <a:pt x="23" y="190"/>
                </a:cubicBezTo>
                <a:cubicBezTo>
                  <a:pt x="23" y="184"/>
                  <a:pt x="27" y="180"/>
                  <a:pt x="37" y="175"/>
                </a:cubicBezTo>
                <a:cubicBezTo>
                  <a:pt x="47" y="171"/>
                  <a:pt x="51" y="167"/>
                  <a:pt x="53" y="156"/>
                </a:cubicBezTo>
                <a:cubicBezTo>
                  <a:pt x="56" y="139"/>
                  <a:pt x="68" y="124"/>
                  <a:pt x="88" y="112"/>
                </a:cubicBezTo>
                <a:cubicBezTo>
                  <a:pt x="108" y="101"/>
                  <a:pt x="123" y="67"/>
                  <a:pt x="123" y="33"/>
                </a:cubicBezTo>
                <a:cubicBezTo>
                  <a:pt x="123" y="2"/>
                  <a:pt x="129" y="0"/>
                  <a:pt x="133" y="30"/>
                </a:cubicBezTo>
                <a:cubicBezTo>
                  <a:pt x="137" y="66"/>
                  <a:pt x="143" y="70"/>
                  <a:pt x="188" y="69"/>
                </a:cubicBezTo>
                <a:cubicBezTo>
                  <a:pt x="225" y="68"/>
                  <a:pt x="225" y="68"/>
                  <a:pt x="225" y="68"/>
                </a:cubicBezTo>
                <a:cubicBezTo>
                  <a:pt x="229" y="88"/>
                  <a:pt x="229" y="88"/>
                  <a:pt x="229" y="88"/>
                </a:cubicBezTo>
                <a:cubicBezTo>
                  <a:pt x="233" y="105"/>
                  <a:pt x="234" y="107"/>
                  <a:pt x="243" y="107"/>
                </a:cubicBezTo>
                <a:cubicBezTo>
                  <a:pt x="249" y="106"/>
                  <a:pt x="263" y="98"/>
                  <a:pt x="276" y="90"/>
                </a:cubicBezTo>
                <a:cubicBezTo>
                  <a:pt x="302" y="71"/>
                  <a:pt x="340" y="61"/>
                  <a:pt x="357" y="69"/>
                </a:cubicBezTo>
                <a:cubicBezTo>
                  <a:pt x="369" y="74"/>
                  <a:pt x="369" y="77"/>
                  <a:pt x="362" y="87"/>
                </a:cubicBezTo>
                <a:cubicBezTo>
                  <a:pt x="356" y="95"/>
                  <a:pt x="356" y="95"/>
                  <a:pt x="339" y="86"/>
                </a:cubicBezTo>
                <a:cubicBezTo>
                  <a:pt x="320" y="76"/>
                  <a:pt x="317" y="78"/>
                  <a:pt x="313" y="97"/>
                </a:cubicBezTo>
                <a:cubicBezTo>
                  <a:pt x="311" y="110"/>
                  <a:pt x="294" y="128"/>
                  <a:pt x="279" y="134"/>
                </a:cubicBezTo>
                <a:cubicBezTo>
                  <a:pt x="275" y="136"/>
                  <a:pt x="271" y="144"/>
                  <a:pt x="269" y="155"/>
                </a:cubicBezTo>
                <a:cubicBezTo>
                  <a:pt x="266" y="176"/>
                  <a:pt x="266" y="176"/>
                  <a:pt x="240" y="179"/>
                </a:cubicBezTo>
                <a:cubicBezTo>
                  <a:pt x="231" y="180"/>
                  <a:pt x="222" y="181"/>
                  <a:pt x="222" y="182"/>
                </a:cubicBezTo>
                <a:cubicBezTo>
                  <a:pt x="221" y="183"/>
                  <a:pt x="214" y="201"/>
                  <a:pt x="206" y="222"/>
                </a:cubicBezTo>
                <a:cubicBezTo>
                  <a:pt x="197" y="242"/>
                  <a:pt x="185" y="268"/>
                  <a:pt x="179" y="277"/>
                </a:cubicBezTo>
                <a:cubicBezTo>
                  <a:pt x="172" y="287"/>
                  <a:pt x="167" y="296"/>
                  <a:pt x="167" y="298"/>
                </a:cubicBezTo>
                <a:cubicBezTo>
                  <a:pt x="167" y="300"/>
                  <a:pt x="145" y="309"/>
                  <a:pt x="103" y="323"/>
                </a:cubicBezTo>
                <a:cubicBezTo>
                  <a:pt x="91" y="326"/>
                  <a:pt x="82" y="327"/>
                  <a:pt x="76" y="325"/>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529" name="Freeform 128"/>
          <p:cNvSpPr>
            <a:spLocks/>
          </p:cNvSpPr>
          <p:nvPr userDrawn="1"/>
        </p:nvSpPr>
        <p:spPr bwMode="black">
          <a:xfrm>
            <a:off x="1658306" y="1749317"/>
            <a:ext cx="850900" cy="733425"/>
          </a:xfrm>
          <a:custGeom>
            <a:avLst/>
            <a:gdLst>
              <a:gd name="T0" fmla="*/ 483 w 592"/>
              <a:gd name="T1" fmla="*/ 501 h 510"/>
              <a:gd name="T2" fmla="*/ 421 w 592"/>
              <a:gd name="T3" fmla="*/ 488 h 510"/>
              <a:gd name="T4" fmla="*/ 325 w 592"/>
              <a:gd name="T5" fmla="*/ 467 h 510"/>
              <a:gd name="T6" fmla="*/ 39 w 592"/>
              <a:gd name="T7" fmla="*/ 407 h 510"/>
              <a:gd name="T8" fmla="*/ 4 w 592"/>
              <a:gd name="T9" fmla="*/ 400 h 510"/>
              <a:gd name="T10" fmla="*/ 1 w 592"/>
              <a:gd name="T11" fmla="*/ 394 h 510"/>
              <a:gd name="T12" fmla="*/ 9 w 592"/>
              <a:gd name="T13" fmla="*/ 362 h 510"/>
              <a:gd name="T14" fmla="*/ 19 w 592"/>
              <a:gd name="T15" fmla="*/ 326 h 510"/>
              <a:gd name="T16" fmla="*/ 25 w 592"/>
              <a:gd name="T17" fmla="*/ 303 h 510"/>
              <a:gd name="T18" fmla="*/ 67 w 592"/>
              <a:gd name="T19" fmla="*/ 124 h 510"/>
              <a:gd name="T20" fmla="*/ 87 w 592"/>
              <a:gd name="T21" fmla="*/ 37 h 510"/>
              <a:gd name="T22" fmla="*/ 97 w 592"/>
              <a:gd name="T23" fmla="*/ 8 h 510"/>
              <a:gd name="T24" fmla="*/ 299 w 592"/>
              <a:gd name="T25" fmla="*/ 42 h 510"/>
              <a:gd name="T26" fmla="*/ 497 w 592"/>
              <a:gd name="T27" fmla="*/ 83 h 510"/>
              <a:gd name="T28" fmla="*/ 546 w 592"/>
              <a:gd name="T29" fmla="*/ 93 h 510"/>
              <a:gd name="T30" fmla="*/ 592 w 592"/>
              <a:gd name="T31" fmla="*/ 103 h 510"/>
              <a:gd name="T32" fmla="*/ 590 w 592"/>
              <a:gd name="T33" fmla="*/ 117 h 510"/>
              <a:gd name="T34" fmla="*/ 563 w 592"/>
              <a:gd name="T35" fmla="*/ 276 h 510"/>
              <a:gd name="T36" fmla="*/ 537 w 592"/>
              <a:gd name="T37" fmla="*/ 430 h 510"/>
              <a:gd name="T38" fmla="*/ 527 w 592"/>
              <a:gd name="T39" fmla="*/ 485 h 510"/>
              <a:gd name="T40" fmla="*/ 523 w 592"/>
              <a:gd name="T41" fmla="*/ 508 h 510"/>
              <a:gd name="T42" fmla="*/ 483 w 592"/>
              <a:gd name="T43" fmla="*/ 501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92" h="510">
                <a:moveTo>
                  <a:pt x="483" y="501"/>
                </a:moveTo>
                <a:cubicBezTo>
                  <a:pt x="464" y="497"/>
                  <a:pt x="437" y="491"/>
                  <a:pt x="421" y="488"/>
                </a:cubicBezTo>
                <a:cubicBezTo>
                  <a:pt x="406" y="485"/>
                  <a:pt x="363" y="475"/>
                  <a:pt x="325" y="467"/>
                </a:cubicBezTo>
                <a:cubicBezTo>
                  <a:pt x="247" y="451"/>
                  <a:pt x="83" y="416"/>
                  <a:pt x="39" y="407"/>
                </a:cubicBezTo>
                <a:cubicBezTo>
                  <a:pt x="23" y="403"/>
                  <a:pt x="7" y="400"/>
                  <a:pt x="4" y="400"/>
                </a:cubicBezTo>
                <a:cubicBezTo>
                  <a:pt x="1" y="400"/>
                  <a:pt x="0" y="397"/>
                  <a:pt x="1" y="394"/>
                </a:cubicBezTo>
                <a:cubicBezTo>
                  <a:pt x="2" y="390"/>
                  <a:pt x="6" y="376"/>
                  <a:pt x="9" y="362"/>
                </a:cubicBezTo>
                <a:cubicBezTo>
                  <a:pt x="13" y="347"/>
                  <a:pt x="17" y="331"/>
                  <a:pt x="19" y="326"/>
                </a:cubicBezTo>
                <a:cubicBezTo>
                  <a:pt x="21" y="320"/>
                  <a:pt x="24" y="310"/>
                  <a:pt x="25" y="303"/>
                </a:cubicBezTo>
                <a:cubicBezTo>
                  <a:pt x="27" y="291"/>
                  <a:pt x="39" y="239"/>
                  <a:pt x="67" y="124"/>
                </a:cubicBezTo>
                <a:cubicBezTo>
                  <a:pt x="75" y="88"/>
                  <a:pt x="84" y="49"/>
                  <a:pt x="87" y="37"/>
                </a:cubicBezTo>
                <a:cubicBezTo>
                  <a:pt x="89" y="25"/>
                  <a:pt x="94" y="11"/>
                  <a:pt x="97" y="8"/>
                </a:cubicBezTo>
                <a:cubicBezTo>
                  <a:pt x="102" y="0"/>
                  <a:pt x="101" y="0"/>
                  <a:pt x="299" y="42"/>
                </a:cubicBezTo>
                <a:cubicBezTo>
                  <a:pt x="360" y="54"/>
                  <a:pt x="456" y="75"/>
                  <a:pt x="497" y="83"/>
                </a:cubicBezTo>
                <a:cubicBezTo>
                  <a:pt x="499" y="84"/>
                  <a:pt x="522" y="88"/>
                  <a:pt x="546" y="93"/>
                </a:cubicBezTo>
                <a:cubicBezTo>
                  <a:pt x="592" y="103"/>
                  <a:pt x="592" y="103"/>
                  <a:pt x="592" y="103"/>
                </a:cubicBezTo>
                <a:cubicBezTo>
                  <a:pt x="590" y="117"/>
                  <a:pt x="590" y="117"/>
                  <a:pt x="590" y="117"/>
                </a:cubicBezTo>
                <a:cubicBezTo>
                  <a:pt x="589" y="125"/>
                  <a:pt x="577" y="196"/>
                  <a:pt x="563" y="276"/>
                </a:cubicBezTo>
                <a:cubicBezTo>
                  <a:pt x="550" y="355"/>
                  <a:pt x="538" y="424"/>
                  <a:pt x="537" y="430"/>
                </a:cubicBezTo>
                <a:cubicBezTo>
                  <a:pt x="534" y="447"/>
                  <a:pt x="531" y="463"/>
                  <a:pt x="527" y="485"/>
                </a:cubicBezTo>
                <a:cubicBezTo>
                  <a:pt x="525" y="497"/>
                  <a:pt x="523" y="507"/>
                  <a:pt x="523" y="508"/>
                </a:cubicBezTo>
                <a:cubicBezTo>
                  <a:pt x="523" y="510"/>
                  <a:pt x="522" y="510"/>
                  <a:pt x="483" y="501"/>
                </a:cubicBez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531" name="Freeform 130"/>
          <p:cNvSpPr>
            <a:spLocks/>
          </p:cNvSpPr>
          <p:nvPr userDrawn="1"/>
        </p:nvSpPr>
        <p:spPr bwMode="black">
          <a:xfrm>
            <a:off x="3488695" y="187215"/>
            <a:ext cx="2101851" cy="2236788"/>
          </a:xfrm>
          <a:custGeom>
            <a:avLst/>
            <a:gdLst>
              <a:gd name="T0" fmla="*/ 901 w 1462"/>
              <a:gd name="T1" fmla="*/ 1532 h 1557"/>
              <a:gd name="T2" fmla="*/ 926 w 1462"/>
              <a:gd name="T3" fmla="*/ 1490 h 1557"/>
              <a:gd name="T4" fmla="*/ 932 w 1462"/>
              <a:gd name="T5" fmla="*/ 1457 h 1557"/>
              <a:gd name="T6" fmla="*/ 967 w 1462"/>
              <a:gd name="T7" fmla="*/ 1389 h 1557"/>
              <a:gd name="T8" fmla="*/ 979 w 1462"/>
              <a:gd name="T9" fmla="*/ 1285 h 1557"/>
              <a:gd name="T10" fmla="*/ 986 w 1462"/>
              <a:gd name="T11" fmla="*/ 1243 h 1557"/>
              <a:gd name="T12" fmla="*/ 965 w 1462"/>
              <a:gd name="T13" fmla="*/ 1202 h 1557"/>
              <a:gd name="T14" fmla="*/ 1056 w 1462"/>
              <a:gd name="T15" fmla="*/ 1267 h 1557"/>
              <a:gd name="T16" fmla="*/ 1009 w 1462"/>
              <a:gd name="T17" fmla="*/ 1142 h 1557"/>
              <a:gd name="T18" fmla="*/ 926 w 1462"/>
              <a:gd name="T19" fmla="*/ 1124 h 1557"/>
              <a:gd name="T20" fmla="*/ 781 w 1462"/>
              <a:gd name="T21" fmla="*/ 1109 h 1557"/>
              <a:gd name="T22" fmla="*/ 732 w 1462"/>
              <a:gd name="T23" fmla="*/ 1069 h 1557"/>
              <a:gd name="T24" fmla="*/ 715 w 1462"/>
              <a:gd name="T25" fmla="*/ 1031 h 1557"/>
              <a:gd name="T26" fmla="*/ 698 w 1462"/>
              <a:gd name="T27" fmla="*/ 976 h 1557"/>
              <a:gd name="T28" fmla="*/ 607 w 1462"/>
              <a:gd name="T29" fmla="*/ 924 h 1557"/>
              <a:gd name="T30" fmla="*/ 596 w 1462"/>
              <a:gd name="T31" fmla="*/ 876 h 1557"/>
              <a:gd name="T32" fmla="*/ 561 w 1462"/>
              <a:gd name="T33" fmla="*/ 867 h 1557"/>
              <a:gd name="T34" fmla="*/ 482 w 1462"/>
              <a:gd name="T35" fmla="*/ 845 h 1557"/>
              <a:gd name="T36" fmla="*/ 455 w 1462"/>
              <a:gd name="T37" fmla="*/ 873 h 1557"/>
              <a:gd name="T38" fmla="*/ 394 w 1462"/>
              <a:gd name="T39" fmla="*/ 929 h 1557"/>
              <a:gd name="T40" fmla="*/ 260 w 1462"/>
              <a:gd name="T41" fmla="*/ 932 h 1557"/>
              <a:gd name="T42" fmla="*/ 196 w 1462"/>
              <a:gd name="T43" fmla="*/ 910 h 1557"/>
              <a:gd name="T44" fmla="*/ 119 w 1462"/>
              <a:gd name="T45" fmla="*/ 882 h 1557"/>
              <a:gd name="T46" fmla="*/ 56 w 1462"/>
              <a:gd name="T47" fmla="*/ 867 h 1557"/>
              <a:gd name="T48" fmla="*/ 13 w 1462"/>
              <a:gd name="T49" fmla="*/ 801 h 1557"/>
              <a:gd name="T50" fmla="*/ 8 w 1462"/>
              <a:gd name="T51" fmla="*/ 600 h 1557"/>
              <a:gd name="T52" fmla="*/ 104 w 1462"/>
              <a:gd name="T53" fmla="*/ 346 h 1557"/>
              <a:gd name="T54" fmla="*/ 196 w 1462"/>
              <a:gd name="T55" fmla="*/ 244 h 1557"/>
              <a:gd name="T56" fmla="*/ 316 w 1462"/>
              <a:gd name="T57" fmla="*/ 105 h 1557"/>
              <a:gd name="T58" fmla="*/ 409 w 1462"/>
              <a:gd name="T59" fmla="*/ 0 h 1557"/>
              <a:gd name="T60" fmla="*/ 466 w 1462"/>
              <a:gd name="T61" fmla="*/ 48 h 1557"/>
              <a:gd name="T62" fmla="*/ 516 w 1462"/>
              <a:gd name="T63" fmla="*/ 82 h 1557"/>
              <a:gd name="T64" fmla="*/ 592 w 1462"/>
              <a:gd name="T65" fmla="*/ 113 h 1557"/>
              <a:gd name="T66" fmla="*/ 644 w 1462"/>
              <a:gd name="T67" fmla="*/ 152 h 1557"/>
              <a:gd name="T68" fmla="*/ 811 w 1462"/>
              <a:gd name="T69" fmla="*/ 166 h 1557"/>
              <a:gd name="T70" fmla="*/ 824 w 1462"/>
              <a:gd name="T71" fmla="*/ 209 h 1557"/>
              <a:gd name="T72" fmla="*/ 822 w 1462"/>
              <a:gd name="T73" fmla="*/ 263 h 1557"/>
              <a:gd name="T74" fmla="*/ 841 w 1462"/>
              <a:gd name="T75" fmla="*/ 336 h 1557"/>
              <a:gd name="T76" fmla="*/ 854 w 1462"/>
              <a:gd name="T77" fmla="*/ 399 h 1557"/>
              <a:gd name="T78" fmla="*/ 964 w 1462"/>
              <a:gd name="T79" fmla="*/ 536 h 1557"/>
              <a:gd name="T80" fmla="*/ 997 w 1462"/>
              <a:gd name="T81" fmla="*/ 557 h 1557"/>
              <a:gd name="T82" fmla="*/ 1024 w 1462"/>
              <a:gd name="T83" fmla="*/ 575 h 1557"/>
              <a:gd name="T84" fmla="*/ 1036 w 1462"/>
              <a:gd name="T85" fmla="*/ 678 h 1557"/>
              <a:gd name="T86" fmla="*/ 1044 w 1462"/>
              <a:gd name="T87" fmla="*/ 746 h 1557"/>
              <a:gd name="T88" fmla="*/ 1056 w 1462"/>
              <a:gd name="T89" fmla="*/ 850 h 1557"/>
              <a:gd name="T90" fmla="*/ 1083 w 1462"/>
              <a:gd name="T91" fmla="*/ 1001 h 1557"/>
              <a:gd name="T92" fmla="*/ 1216 w 1462"/>
              <a:gd name="T93" fmla="*/ 1080 h 1557"/>
              <a:gd name="T94" fmla="*/ 1284 w 1462"/>
              <a:gd name="T95" fmla="*/ 1106 h 1557"/>
              <a:gd name="T96" fmla="*/ 1314 w 1462"/>
              <a:gd name="T97" fmla="*/ 1137 h 1557"/>
              <a:gd name="T98" fmla="*/ 1408 w 1462"/>
              <a:gd name="T99" fmla="*/ 1119 h 1557"/>
              <a:gd name="T100" fmla="*/ 1460 w 1462"/>
              <a:gd name="T101" fmla="*/ 1129 h 1557"/>
              <a:gd name="T102" fmla="*/ 1372 w 1462"/>
              <a:gd name="T103" fmla="*/ 1230 h 1557"/>
              <a:gd name="T104" fmla="*/ 1320 w 1462"/>
              <a:gd name="T105" fmla="*/ 1285 h 1557"/>
              <a:gd name="T106" fmla="*/ 1134 w 1462"/>
              <a:gd name="T107" fmla="*/ 1359 h 1557"/>
              <a:gd name="T108" fmla="*/ 1157 w 1462"/>
              <a:gd name="T109" fmla="*/ 1399 h 1557"/>
              <a:gd name="T110" fmla="*/ 1149 w 1462"/>
              <a:gd name="T111" fmla="*/ 1430 h 1557"/>
              <a:gd name="T112" fmla="*/ 1082 w 1462"/>
              <a:gd name="T113" fmla="*/ 1469 h 1557"/>
              <a:gd name="T114" fmla="*/ 1081 w 1462"/>
              <a:gd name="T115" fmla="*/ 1480 h 1557"/>
              <a:gd name="T116" fmla="*/ 958 w 1462"/>
              <a:gd name="T117" fmla="*/ 1522 h 1557"/>
              <a:gd name="T118" fmla="*/ 887 w 1462"/>
              <a:gd name="T119" fmla="*/ 1556 h 1557"/>
              <a:gd name="T120" fmla="*/ 880 w 1462"/>
              <a:gd name="T121" fmla="*/ 1546 h 1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62" h="1557">
                <a:moveTo>
                  <a:pt x="880" y="1546"/>
                </a:moveTo>
                <a:cubicBezTo>
                  <a:pt x="884" y="1538"/>
                  <a:pt x="890" y="1534"/>
                  <a:pt x="901" y="1532"/>
                </a:cubicBezTo>
                <a:cubicBezTo>
                  <a:pt x="909" y="1531"/>
                  <a:pt x="918" y="1528"/>
                  <a:pt x="921" y="1526"/>
                </a:cubicBezTo>
                <a:cubicBezTo>
                  <a:pt x="929" y="1521"/>
                  <a:pt x="933" y="1494"/>
                  <a:pt x="926" y="1490"/>
                </a:cubicBezTo>
                <a:cubicBezTo>
                  <a:pt x="923" y="1487"/>
                  <a:pt x="922" y="1484"/>
                  <a:pt x="925" y="1479"/>
                </a:cubicBezTo>
                <a:cubicBezTo>
                  <a:pt x="927" y="1475"/>
                  <a:pt x="930" y="1465"/>
                  <a:pt x="932" y="1457"/>
                </a:cubicBezTo>
                <a:cubicBezTo>
                  <a:pt x="933" y="1448"/>
                  <a:pt x="938" y="1439"/>
                  <a:pt x="942" y="1437"/>
                </a:cubicBezTo>
                <a:cubicBezTo>
                  <a:pt x="956" y="1427"/>
                  <a:pt x="969" y="1403"/>
                  <a:pt x="967" y="1389"/>
                </a:cubicBezTo>
                <a:cubicBezTo>
                  <a:pt x="967" y="1382"/>
                  <a:pt x="966" y="1361"/>
                  <a:pt x="965" y="1343"/>
                </a:cubicBezTo>
                <a:cubicBezTo>
                  <a:pt x="965" y="1313"/>
                  <a:pt x="966" y="1309"/>
                  <a:pt x="979" y="1285"/>
                </a:cubicBezTo>
                <a:cubicBezTo>
                  <a:pt x="994" y="1259"/>
                  <a:pt x="994" y="1259"/>
                  <a:pt x="994" y="1259"/>
                </a:cubicBezTo>
                <a:cubicBezTo>
                  <a:pt x="986" y="1243"/>
                  <a:pt x="986" y="1243"/>
                  <a:pt x="986" y="1243"/>
                </a:cubicBezTo>
                <a:cubicBezTo>
                  <a:pt x="982" y="1235"/>
                  <a:pt x="975" y="1224"/>
                  <a:pt x="971" y="1220"/>
                </a:cubicBezTo>
                <a:cubicBezTo>
                  <a:pt x="962" y="1213"/>
                  <a:pt x="959" y="1202"/>
                  <a:pt x="965" y="1202"/>
                </a:cubicBezTo>
                <a:cubicBezTo>
                  <a:pt x="967" y="1202"/>
                  <a:pt x="979" y="1212"/>
                  <a:pt x="992" y="1225"/>
                </a:cubicBezTo>
                <a:cubicBezTo>
                  <a:pt x="1013" y="1247"/>
                  <a:pt x="1035" y="1261"/>
                  <a:pt x="1056" y="1267"/>
                </a:cubicBezTo>
                <a:cubicBezTo>
                  <a:pt x="1078" y="1273"/>
                  <a:pt x="1090" y="1236"/>
                  <a:pt x="1074" y="1213"/>
                </a:cubicBezTo>
                <a:cubicBezTo>
                  <a:pt x="1063" y="1198"/>
                  <a:pt x="1020" y="1150"/>
                  <a:pt x="1009" y="1142"/>
                </a:cubicBezTo>
                <a:cubicBezTo>
                  <a:pt x="1004" y="1139"/>
                  <a:pt x="989" y="1135"/>
                  <a:pt x="975" y="1133"/>
                </a:cubicBezTo>
                <a:cubicBezTo>
                  <a:pt x="960" y="1132"/>
                  <a:pt x="938" y="1127"/>
                  <a:pt x="926" y="1124"/>
                </a:cubicBezTo>
                <a:cubicBezTo>
                  <a:pt x="911" y="1119"/>
                  <a:pt x="887" y="1118"/>
                  <a:pt x="845" y="1118"/>
                </a:cubicBezTo>
                <a:cubicBezTo>
                  <a:pt x="791" y="1118"/>
                  <a:pt x="786" y="1117"/>
                  <a:pt x="781" y="1109"/>
                </a:cubicBezTo>
                <a:cubicBezTo>
                  <a:pt x="778" y="1105"/>
                  <a:pt x="766" y="1096"/>
                  <a:pt x="754" y="1090"/>
                </a:cubicBezTo>
                <a:cubicBezTo>
                  <a:pt x="737" y="1081"/>
                  <a:pt x="733" y="1077"/>
                  <a:pt x="732" y="1069"/>
                </a:cubicBezTo>
                <a:cubicBezTo>
                  <a:pt x="732" y="1063"/>
                  <a:pt x="727" y="1052"/>
                  <a:pt x="720" y="1046"/>
                </a:cubicBezTo>
                <a:cubicBezTo>
                  <a:pt x="710" y="1035"/>
                  <a:pt x="710" y="1033"/>
                  <a:pt x="715" y="1031"/>
                </a:cubicBezTo>
                <a:cubicBezTo>
                  <a:pt x="724" y="1028"/>
                  <a:pt x="724" y="1019"/>
                  <a:pt x="714" y="1005"/>
                </a:cubicBezTo>
                <a:cubicBezTo>
                  <a:pt x="710" y="999"/>
                  <a:pt x="702" y="986"/>
                  <a:pt x="698" y="976"/>
                </a:cubicBezTo>
                <a:cubicBezTo>
                  <a:pt x="691" y="961"/>
                  <a:pt x="688" y="958"/>
                  <a:pt x="675" y="956"/>
                </a:cubicBezTo>
                <a:cubicBezTo>
                  <a:pt x="659" y="954"/>
                  <a:pt x="617" y="933"/>
                  <a:pt x="607" y="924"/>
                </a:cubicBezTo>
                <a:cubicBezTo>
                  <a:pt x="604" y="921"/>
                  <a:pt x="601" y="911"/>
                  <a:pt x="600" y="903"/>
                </a:cubicBezTo>
                <a:cubicBezTo>
                  <a:pt x="600" y="894"/>
                  <a:pt x="598" y="882"/>
                  <a:pt x="596" y="876"/>
                </a:cubicBezTo>
                <a:cubicBezTo>
                  <a:pt x="593" y="865"/>
                  <a:pt x="593" y="865"/>
                  <a:pt x="593" y="865"/>
                </a:cubicBezTo>
                <a:cubicBezTo>
                  <a:pt x="561" y="867"/>
                  <a:pt x="561" y="867"/>
                  <a:pt x="561" y="867"/>
                </a:cubicBezTo>
                <a:cubicBezTo>
                  <a:pt x="531" y="869"/>
                  <a:pt x="527" y="868"/>
                  <a:pt x="505" y="857"/>
                </a:cubicBezTo>
                <a:cubicBezTo>
                  <a:pt x="482" y="845"/>
                  <a:pt x="482" y="845"/>
                  <a:pt x="482" y="845"/>
                </a:cubicBezTo>
                <a:cubicBezTo>
                  <a:pt x="466" y="856"/>
                  <a:pt x="466" y="856"/>
                  <a:pt x="466" y="856"/>
                </a:cubicBezTo>
                <a:cubicBezTo>
                  <a:pt x="451" y="865"/>
                  <a:pt x="450" y="867"/>
                  <a:pt x="455" y="873"/>
                </a:cubicBezTo>
                <a:cubicBezTo>
                  <a:pt x="461" y="878"/>
                  <a:pt x="459" y="880"/>
                  <a:pt x="435" y="896"/>
                </a:cubicBezTo>
                <a:cubicBezTo>
                  <a:pt x="420" y="906"/>
                  <a:pt x="402" y="921"/>
                  <a:pt x="394" y="929"/>
                </a:cubicBezTo>
                <a:cubicBezTo>
                  <a:pt x="377" y="947"/>
                  <a:pt x="376" y="947"/>
                  <a:pt x="318" y="937"/>
                </a:cubicBezTo>
                <a:cubicBezTo>
                  <a:pt x="302" y="935"/>
                  <a:pt x="275" y="932"/>
                  <a:pt x="260" y="932"/>
                </a:cubicBezTo>
                <a:cubicBezTo>
                  <a:pt x="233" y="931"/>
                  <a:pt x="206" y="921"/>
                  <a:pt x="206" y="913"/>
                </a:cubicBezTo>
                <a:cubicBezTo>
                  <a:pt x="206" y="911"/>
                  <a:pt x="202" y="910"/>
                  <a:pt x="196" y="910"/>
                </a:cubicBezTo>
                <a:cubicBezTo>
                  <a:pt x="190" y="910"/>
                  <a:pt x="180" y="904"/>
                  <a:pt x="171" y="896"/>
                </a:cubicBezTo>
                <a:cubicBezTo>
                  <a:pt x="156" y="882"/>
                  <a:pt x="156" y="882"/>
                  <a:pt x="119" y="882"/>
                </a:cubicBezTo>
                <a:cubicBezTo>
                  <a:pt x="93" y="882"/>
                  <a:pt x="81" y="880"/>
                  <a:pt x="77" y="876"/>
                </a:cubicBezTo>
                <a:cubicBezTo>
                  <a:pt x="74" y="873"/>
                  <a:pt x="64" y="869"/>
                  <a:pt x="56" y="867"/>
                </a:cubicBezTo>
                <a:cubicBezTo>
                  <a:pt x="34" y="863"/>
                  <a:pt x="31" y="860"/>
                  <a:pt x="28" y="832"/>
                </a:cubicBezTo>
                <a:cubicBezTo>
                  <a:pt x="26" y="810"/>
                  <a:pt x="25" y="807"/>
                  <a:pt x="13" y="801"/>
                </a:cubicBezTo>
                <a:cubicBezTo>
                  <a:pt x="1" y="795"/>
                  <a:pt x="0" y="794"/>
                  <a:pt x="1" y="771"/>
                </a:cubicBezTo>
                <a:cubicBezTo>
                  <a:pt x="1" y="746"/>
                  <a:pt x="6" y="638"/>
                  <a:pt x="8" y="600"/>
                </a:cubicBezTo>
                <a:cubicBezTo>
                  <a:pt x="9" y="586"/>
                  <a:pt x="11" y="547"/>
                  <a:pt x="12" y="512"/>
                </a:cubicBezTo>
                <a:cubicBezTo>
                  <a:pt x="15" y="432"/>
                  <a:pt x="8" y="445"/>
                  <a:pt x="104" y="346"/>
                </a:cubicBezTo>
                <a:cubicBezTo>
                  <a:pt x="124" y="325"/>
                  <a:pt x="152" y="294"/>
                  <a:pt x="166" y="278"/>
                </a:cubicBezTo>
                <a:cubicBezTo>
                  <a:pt x="180" y="262"/>
                  <a:pt x="194" y="246"/>
                  <a:pt x="196" y="244"/>
                </a:cubicBezTo>
                <a:cubicBezTo>
                  <a:pt x="199" y="242"/>
                  <a:pt x="222" y="214"/>
                  <a:pt x="248" y="184"/>
                </a:cubicBezTo>
                <a:cubicBezTo>
                  <a:pt x="275" y="153"/>
                  <a:pt x="305" y="118"/>
                  <a:pt x="316" y="105"/>
                </a:cubicBezTo>
                <a:cubicBezTo>
                  <a:pt x="370" y="46"/>
                  <a:pt x="394" y="19"/>
                  <a:pt x="401" y="10"/>
                </a:cubicBezTo>
                <a:cubicBezTo>
                  <a:pt x="409" y="0"/>
                  <a:pt x="409" y="0"/>
                  <a:pt x="409" y="0"/>
                </a:cubicBezTo>
                <a:cubicBezTo>
                  <a:pt x="423" y="7"/>
                  <a:pt x="423" y="7"/>
                  <a:pt x="423" y="7"/>
                </a:cubicBezTo>
                <a:cubicBezTo>
                  <a:pt x="439" y="16"/>
                  <a:pt x="466" y="42"/>
                  <a:pt x="466" y="48"/>
                </a:cubicBezTo>
                <a:cubicBezTo>
                  <a:pt x="466" y="50"/>
                  <a:pt x="472" y="58"/>
                  <a:pt x="479" y="65"/>
                </a:cubicBezTo>
                <a:cubicBezTo>
                  <a:pt x="489" y="74"/>
                  <a:pt x="499" y="79"/>
                  <a:pt x="516" y="82"/>
                </a:cubicBezTo>
                <a:cubicBezTo>
                  <a:pt x="533" y="85"/>
                  <a:pt x="544" y="90"/>
                  <a:pt x="552" y="98"/>
                </a:cubicBezTo>
                <a:cubicBezTo>
                  <a:pt x="564" y="109"/>
                  <a:pt x="574" y="113"/>
                  <a:pt x="592" y="113"/>
                </a:cubicBezTo>
                <a:cubicBezTo>
                  <a:pt x="597" y="113"/>
                  <a:pt x="610" y="122"/>
                  <a:pt x="622" y="133"/>
                </a:cubicBezTo>
                <a:cubicBezTo>
                  <a:pt x="644" y="152"/>
                  <a:pt x="644" y="152"/>
                  <a:pt x="644" y="152"/>
                </a:cubicBezTo>
                <a:cubicBezTo>
                  <a:pt x="719" y="155"/>
                  <a:pt x="719" y="155"/>
                  <a:pt x="719" y="155"/>
                </a:cubicBezTo>
                <a:cubicBezTo>
                  <a:pt x="784" y="157"/>
                  <a:pt x="796" y="158"/>
                  <a:pt x="811" y="166"/>
                </a:cubicBezTo>
                <a:cubicBezTo>
                  <a:pt x="827" y="174"/>
                  <a:pt x="827" y="174"/>
                  <a:pt x="827" y="174"/>
                </a:cubicBezTo>
                <a:cubicBezTo>
                  <a:pt x="824" y="209"/>
                  <a:pt x="824" y="209"/>
                  <a:pt x="824" y="209"/>
                </a:cubicBezTo>
                <a:cubicBezTo>
                  <a:pt x="823" y="228"/>
                  <a:pt x="820" y="245"/>
                  <a:pt x="818" y="247"/>
                </a:cubicBezTo>
                <a:cubicBezTo>
                  <a:pt x="816" y="249"/>
                  <a:pt x="818" y="256"/>
                  <a:pt x="822" y="263"/>
                </a:cubicBezTo>
                <a:cubicBezTo>
                  <a:pt x="827" y="270"/>
                  <a:pt x="831" y="283"/>
                  <a:pt x="832" y="293"/>
                </a:cubicBezTo>
                <a:cubicBezTo>
                  <a:pt x="837" y="325"/>
                  <a:pt x="837" y="329"/>
                  <a:pt x="841" y="336"/>
                </a:cubicBezTo>
                <a:cubicBezTo>
                  <a:pt x="843" y="340"/>
                  <a:pt x="844" y="352"/>
                  <a:pt x="844" y="362"/>
                </a:cubicBezTo>
                <a:cubicBezTo>
                  <a:pt x="843" y="377"/>
                  <a:pt x="845" y="384"/>
                  <a:pt x="854" y="399"/>
                </a:cubicBezTo>
                <a:cubicBezTo>
                  <a:pt x="870" y="423"/>
                  <a:pt x="918" y="482"/>
                  <a:pt x="922" y="482"/>
                </a:cubicBezTo>
                <a:cubicBezTo>
                  <a:pt x="932" y="482"/>
                  <a:pt x="957" y="515"/>
                  <a:pt x="964" y="536"/>
                </a:cubicBezTo>
                <a:cubicBezTo>
                  <a:pt x="972" y="558"/>
                  <a:pt x="972" y="558"/>
                  <a:pt x="972" y="558"/>
                </a:cubicBezTo>
                <a:cubicBezTo>
                  <a:pt x="997" y="557"/>
                  <a:pt x="997" y="557"/>
                  <a:pt x="997" y="557"/>
                </a:cubicBezTo>
                <a:cubicBezTo>
                  <a:pt x="1022" y="555"/>
                  <a:pt x="1022" y="555"/>
                  <a:pt x="1022" y="555"/>
                </a:cubicBezTo>
                <a:cubicBezTo>
                  <a:pt x="1024" y="575"/>
                  <a:pt x="1024" y="575"/>
                  <a:pt x="1024" y="575"/>
                </a:cubicBezTo>
                <a:cubicBezTo>
                  <a:pt x="1028" y="607"/>
                  <a:pt x="1030" y="622"/>
                  <a:pt x="1032" y="646"/>
                </a:cubicBezTo>
                <a:cubicBezTo>
                  <a:pt x="1033" y="658"/>
                  <a:pt x="1035" y="672"/>
                  <a:pt x="1036" y="678"/>
                </a:cubicBezTo>
                <a:cubicBezTo>
                  <a:pt x="1037" y="683"/>
                  <a:pt x="1039" y="698"/>
                  <a:pt x="1040" y="712"/>
                </a:cubicBezTo>
                <a:cubicBezTo>
                  <a:pt x="1041" y="725"/>
                  <a:pt x="1043" y="740"/>
                  <a:pt x="1044" y="746"/>
                </a:cubicBezTo>
                <a:cubicBezTo>
                  <a:pt x="1046" y="759"/>
                  <a:pt x="1050" y="791"/>
                  <a:pt x="1052" y="816"/>
                </a:cubicBezTo>
                <a:cubicBezTo>
                  <a:pt x="1053" y="827"/>
                  <a:pt x="1055" y="842"/>
                  <a:pt x="1056" y="850"/>
                </a:cubicBezTo>
                <a:cubicBezTo>
                  <a:pt x="1062" y="898"/>
                  <a:pt x="1066" y="931"/>
                  <a:pt x="1068" y="951"/>
                </a:cubicBezTo>
                <a:cubicBezTo>
                  <a:pt x="1070" y="964"/>
                  <a:pt x="1076" y="987"/>
                  <a:pt x="1083" y="1001"/>
                </a:cubicBezTo>
                <a:cubicBezTo>
                  <a:pt x="1093" y="1024"/>
                  <a:pt x="1098" y="1031"/>
                  <a:pt x="1118" y="1045"/>
                </a:cubicBezTo>
                <a:cubicBezTo>
                  <a:pt x="1144" y="1063"/>
                  <a:pt x="1180" y="1076"/>
                  <a:pt x="1216" y="1080"/>
                </a:cubicBezTo>
                <a:cubicBezTo>
                  <a:pt x="1233" y="1081"/>
                  <a:pt x="1246" y="1086"/>
                  <a:pt x="1258" y="1094"/>
                </a:cubicBezTo>
                <a:cubicBezTo>
                  <a:pt x="1269" y="1100"/>
                  <a:pt x="1280" y="1106"/>
                  <a:pt x="1284" y="1106"/>
                </a:cubicBezTo>
                <a:cubicBezTo>
                  <a:pt x="1289" y="1106"/>
                  <a:pt x="1297" y="1113"/>
                  <a:pt x="1303" y="1121"/>
                </a:cubicBezTo>
                <a:cubicBezTo>
                  <a:pt x="1314" y="1137"/>
                  <a:pt x="1314" y="1137"/>
                  <a:pt x="1314" y="1137"/>
                </a:cubicBezTo>
                <a:cubicBezTo>
                  <a:pt x="1349" y="1135"/>
                  <a:pt x="1349" y="1135"/>
                  <a:pt x="1349" y="1135"/>
                </a:cubicBezTo>
                <a:cubicBezTo>
                  <a:pt x="1378" y="1133"/>
                  <a:pt x="1386" y="1131"/>
                  <a:pt x="1408" y="1119"/>
                </a:cubicBezTo>
                <a:cubicBezTo>
                  <a:pt x="1434" y="1105"/>
                  <a:pt x="1454" y="1099"/>
                  <a:pt x="1454" y="1104"/>
                </a:cubicBezTo>
                <a:cubicBezTo>
                  <a:pt x="1455" y="1111"/>
                  <a:pt x="1457" y="1121"/>
                  <a:pt x="1460" y="1129"/>
                </a:cubicBezTo>
                <a:cubicBezTo>
                  <a:pt x="1462" y="1136"/>
                  <a:pt x="1459" y="1140"/>
                  <a:pt x="1447" y="1151"/>
                </a:cubicBezTo>
                <a:cubicBezTo>
                  <a:pt x="1422" y="1172"/>
                  <a:pt x="1402" y="1194"/>
                  <a:pt x="1372" y="1230"/>
                </a:cubicBezTo>
                <a:cubicBezTo>
                  <a:pt x="1357" y="1250"/>
                  <a:pt x="1342" y="1265"/>
                  <a:pt x="1340" y="1266"/>
                </a:cubicBezTo>
                <a:cubicBezTo>
                  <a:pt x="1333" y="1266"/>
                  <a:pt x="1317" y="1281"/>
                  <a:pt x="1320" y="1285"/>
                </a:cubicBezTo>
                <a:cubicBezTo>
                  <a:pt x="1324" y="1292"/>
                  <a:pt x="1292" y="1304"/>
                  <a:pt x="1266" y="1305"/>
                </a:cubicBezTo>
                <a:cubicBezTo>
                  <a:pt x="1218" y="1307"/>
                  <a:pt x="1149" y="1335"/>
                  <a:pt x="1134" y="1359"/>
                </a:cubicBezTo>
                <a:cubicBezTo>
                  <a:pt x="1120" y="1383"/>
                  <a:pt x="1120" y="1389"/>
                  <a:pt x="1135" y="1395"/>
                </a:cubicBezTo>
                <a:cubicBezTo>
                  <a:pt x="1143" y="1399"/>
                  <a:pt x="1152" y="1400"/>
                  <a:pt x="1157" y="1399"/>
                </a:cubicBezTo>
                <a:cubicBezTo>
                  <a:pt x="1163" y="1398"/>
                  <a:pt x="1166" y="1400"/>
                  <a:pt x="1171" y="1411"/>
                </a:cubicBezTo>
                <a:cubicBezTo>
                  <a:pt x="1179" y="1427"/>
                  <a:pt x="1176" y="1430"/>
                  <a:pt x="1149" y="1430"/>
                </a:cubicBezTo>
                <a:cubicBezTo>
                  <a:pt x="1133" y="1430"/>
                  <a:pt x="1089" y="1446"/>
                  <a:pt x="1078" y="1456"/>
                </a:cubicBezTo>
                <a:cubicBezTo>
                  <a:pt x="1073" y="1461"/>
                  <a:pt x="1073" y="1463"/>
                  <a:pt x="1082" y="1469"/>
                </a:cubicBezTo>
                <a:cubicBezTo>
                  <a:pt x="1092" y="1477"/>
                  <a:pt x="1092" y="1477"/>
                  <a:pt x="1092" y="1477"/>
                </a:cubicBezTo>
                <a:cubicBezTo>
                  <a:pt x="1081" y="1480"/>
                  <a:pt x="1081" y="1480"/>
                  <a:pt x="1081" y="1480"/>
                </a:cubicBezTo>
                <a:cubicBezTo>
                  <a:pt x="1075" y="1481"/>
                  <a:pt x="1062" y="1480"/>
                  <a:pt x="1052" y="1478"/>
                </a:cubicBezTo>
                <a:cubicBezTo>
                  <a:pt x="1014" y="1468"/>
                  <a:pt x="1005" y="1473"/>
                  <a:pt x="958" y="1522"/>
                </a:cubicBezTo>
                <a:cubicBezTo>
                  <a:pt x="932" y="1549"/>
                  <a:pt x="926" y="1554"/>
                  <a:pt x="914" y="1554"/>
                </a:cubicBezTo>
                <a:cubicBezTo>
                  <a:pt x="906" y="1554"/>
                  <a:pt x="894" y="1555"/>
                  <a:pt x="887" y="1556"/>
                </a:cubicBezTo>
                <a:cubicBezTo>
                  <a:pt x="874" y="1557"/>
                  <a:pt x="874" y="1557"/>
                  <a:pt x="874" y="1557"/>
                </a:cubicBezTo>
                <a:lnTo>
                  <a:pt x="880" y="1546"/>
                </a:lnTo>
                <a:close/>
              </a:path>
            </a:pathLst>
          </a:custGeom>
          <a:solidFill>
            <a:srgbClr val="0044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 name="Rectangle 2"/>
          <p:cNvSpPr/>
          <p:nvPr userDrawn="1"/>
        </p:nvSpPr>
        <p:spPr>
          <a:xfrm rot="1050711">
            <a:off x="1402309" y="2169849"/>
            <a:ext cx="171247" cy="225424"/>
          </a:xfrm>
          <a:prstGeom prst="rect">
            <a:avLst/>
          </a:prstGeom>
          <a:solidFill>
            <a:srgbClr val="00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78" name="Oval 177"/>
          <p:cNvSpPr/>
          <p:nvPr userDrawn="1"/>
        </p:nvSpPr>
        <p:spPr>
          <a:xfrm>
            <a:off x="5018664" y="3293135"/>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90" name="Oval 189"/>
          <p:cNvSpPr/>
          <p:nvPr userDrawn="1"/>
        </p:nvSpPr>
        <p:spPr>
          <a:xfrm>
            <a:off x="5155824" y="3622725"/>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91" name="Oval 190"/>
          <p:cNvSpPr/>
          <p:nvPr userDrawn="1"/>
        </p:nvSpPr>
        <p:spPr>
          <a:xfrm>
            <a:off x="4855532" y="3403491"/>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92" name="Oval 191"/>
          <p:cNvSpPr/>
          <p:nvPr userDrawn="1"/>
        </p:nvSpPr>
        <p:spPr>
          <a:xfrm>
            <a:off x="5018664" y="3501281"/>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93" name="Oval 192"/>
          <p:cNvSpPr/>
          <p:nvPr userDrawn="1"/>
        </p:nvSpPr>
        <p:spPr>
          <a:xfrm>
            <a:off x="4616335" y="3564147"/>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94" name="Oval 193"/>
          <p:cNvSpPr/>
          <p:nvPr userDrawn="1"/>
        </p:nvSpPr>
        <p:spPr>
          <a:xfrm>
            <a:off x="4309721" y="3602881"/>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96" name="Oval 195"/>
          <p:cNvSpPr/>
          <p:nvPr userDrawn="1"/>
        </p:nvSpPr>
        <p:spPr>
          <a:xfrm>
            <a:off x="3852977" y="3390635"/>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97" name="Oval 196"/>
          <p:cNvSpPr/>
          <p:nvPr userDrawn="1"/>
        </p:nvSpPr>
        <p:spPr>
          <a:xfrm>
            <a:off x="4221495" y="3233305"/>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98" name="Oval 197"/>
          <p:cNvSpPr/>
          <p:nvPr userDrawn="1"/>
        </p:nvSpPr>
        <p:spPr>
          <a:xfrm>
            <a:off x="3855080" y="4283272"/>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99" name="Oval 198"/>
          <p:cNvSpPr/>
          <p:nvPr userDrawn="1"/>
        </p:nvSpPr>
        <p:spPr>
          <a:xfrm>
            <a:off x="4849987" y="4406315"/>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00" name="Oval 199"/>
          <p:cNvSpPr/>
          <p:nvPr userDrawn="1"/>
        </p:nvSpPr>
        <p:spPr>
          <a:xfrm>
            <a:off x="5219060" y="4770973"/>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01" name="Oval 200"/>
          <p:cNvSpPr/>
          <p:nvPr userDrawn="1"/>
        </p:nvSpPr>
        <p:spPr>
          <a:xfrm>
            <a:off x="5313967" y="3180145"/>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02" name="Oval 201"/>
          <p:cNvSpPr/>
          <p:nvPr userDrawn="1"/>
        </p:nvSpPr>
        <p:spPr>
          <a:xfrm>
            <a:off x="5340947" y="2906527"/>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03" name="Oval 202"/>
          <p:cNvSpPr/>
          <p:nvPr userDrawn="1"/>
        </p:nvSpPr>
        <p:spPr>
          <a:xfrm>
            <a:off x="5333688" y="2681115"/>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04" name="Oval 203"/>
          <p:cNvSpPr/>
          <p:nvPr userDrawn="1"/>
        </p:nvSpPr>
        <p:spPr>
          <a:xfrm>
            <a:off x="5012676" y="2510687"/>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05" name="Oval 204"/>
          <p:cNvSpPr/>
          <p:nvPr userDrawn="1"/>
        </p:nvSpPr>
        <p:spPr>
          <a:xfrm>
            <a:off x="5463235" y="2497983"/>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06" name="Oval 205"/>
          <p:cNvSpPr/>
          <p:nvPr userDrawn="1"/>
        </p:nvSpPr>
        <p:spPr>
          <a:xfrm>
            <a:off x="5701513" y="2298909"/>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07" name="Oval 206"/>
          <p:cNvSpPr/>
          <p:nvPr userDrawn="1"/>
        </p:nvSpPr>
        <p:spPr>
          <a:xfrm>
            <a:off x="5599744" y="2353668"/>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10" name="Oval 209"/>
          <p:cNvSpPr/>
          <p:nvPr userDrawn="1"/>
        </p:nvSpPr>
        <p:spPr>
          <a:xfrm>
            <a:off x="5764536" y="2182863"/>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11" name="Oval 210"/>
          <p:cNvSpPr/>
          <p:nvPr userDrawn="1"/>
        </p:nvSpPr>
        <p:spPr>
          <a:xfrm>
            <a:off x="5939159" y="2024109"/>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12" name="Oval 211"/>
          <p:cNvSpPr/>
          <p:nvPr userDrawn="1"/>
        </p:nvSpPr>
        <p:spPr>
          <a:xfrm>
            <a:off x="6001152" y="1751699"/>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13" name="Oval 212"/>
          <p:cNvSpPr/>
          <p:nvPr userDrawn="1"/>
        </p:nvSpPr>
        <p:spPr>
          <a:xfrm>
            <a:off x="4931096" y="1929969"/>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14" name="Oval 213"/>
          <p:cNvSpPr/>
          <p:nvPr userDrawn="1"/>
        </p:nvSpPr>
        <p:spPr>
          <a:xfrm>
            <a:off x="4555980" y="2223475"/>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15" name="Oval 214"/>
          <p:cNvSpPr/>
          <p:nvPr userDrawn="1"/>
        </p:nvSpPr>
        <p:spPr>
          <a:xfrm>
            <a:off x="4720115" y="2441469"/>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16" name="Oval 215"/>
          <p:cNvSpPr/>
          <p:nvPr userDrawn="1"/>
        </p:nvSpPr>
        <p:spPr>
          <a:xfrm>
            <a:off x="4297204" y="2576721"/>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17" name="Oval 216"/>
          <p:cNvSpPr/>
          <p:nvPr userDrawn="1"/>
        </p:nvSpPr>
        <p:spPr>
          <a:xfrm>
            <a:off x="3790975" y="2816615"/>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18" name="Oval 217"/>
          <p:cNvSpPr/>
          <p:nvPr userDrawn="1"/>
        </p:nvSpPr>
        <p:spPr>
          <a:xfrm>
            <a:off x="4084347" y="2338431"/>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19" name="Oval 218"/>
          <p:cNvSpPr/>
          <p:nvPr userDrawn="1"/>
        </p:nvSpPr>
        <p:spPr>
          <a:xfrm>
            <a:off x="4056389" y="2077607"/>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20" name="Oval 219"/>
          <p:cNvSpPr/>
          <p:nvPr userDrawn="1"/>
        </p:nvSpPr>
        <p:spPr>
          <a:xfrm>
            <a:off x="3401092" y="1872052"/>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21" name="Oval 220"/>
          <p:cNvSpPr/>
          <p:nvPr userDrawn="1"/>
        </p:nvSpPr>
        <p:spPr>
          <a:xfrm>
            <a:off x="3332180" y="2752929"/>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22" name="Oval 221"/>
          <p:cNvSpPr/>
          <p:nvPr userDrawn="1"/>
        </p:nvSpPr>
        <p:spPr>
          <a:xfrm>
            <a:off x="2950103" y="3240249"/>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23" name="Oval 222"/>
          <p:cNvSpPr/>
          <p:nvPr userDrawn="1"/>
        </p:nvSpPr>
        <p:spPr>
          <a:xfrm>
            <a:off x="3025465" y="3775601"/>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24" name="Oval 223"/>
          <p:cNvSpPr/>
          <p:nvPr userDrawn="1"/>
        </p:nvSpPr>
        <p:spPr>
          <a:xfrm>
            <a:off x="3094835" y="4307019"/>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25" name="Oval 224"/>
          <p:cNvSpPr/>
          <p:nvPr userDrawn="1"/>
        </p:nvSpPr>
        <p:spPr>
          <a:xfrm>
            <a:off x="2854955" y="4126121"/>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26" name="Oval 225"/>
          <p:cNvSpPr/>
          <p:nvPr userDrawn="1"/>
        </p:nvSpPr>
        <p:spPr>
          <a:xfrm>
            <a:off x="2676361" y="4269155"/>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27" name="Oval 226"/>
          <p:cNvSpPr/>
          <p:nvPr userDrawn="1"/>
        </p:nvSpPr>
        <p:spPr>
          <a:xfrm>
            <a:off x="2192983" y="2564021"/>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88" name="Oval 287"/>
          <p:cNvSpPr/>
          <p:nvPr userDrawn="1"/>
        </p:nvSpPr>
        <p:spPr>
          <a:xfrm>
            <a:off x="1095216" y="3226091"/>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89" name="Oval 288"/>
          <p:cNvSpPr/>
          <p:nvPr userDrawn="1"/>
        </p:nvSpPr>
        <p:spPr>
          <a:xfrm>
            <a:off x="808125" y="2756152"/>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90" name="Oval 289"/>
          <p:cNvSpPr/>
          <p:nvPr userDrawn="1"/>
        </p:nvSpPr>
        <p:spPr>
          <a:xfrm>
            <a:off x="624280" y="884927"/>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91" name="Oval 290"/>
          <p:cNvSpPr/>
          <p:nvPr userDrawn="1"/>
        </p:nvSpPr>
        <p:spPr>
          <a:xfrm>
            <a:off x="460056" y="1181777"/>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92" name="Oval 291"/>
          <p:cNvSpPr/>
          <p:nvPr userDrawn="1"/>
        </p:nvSpPr>
        <p:spPr>
          <a:xfrm>
            <a:off x="138459" y="2306847"/>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93" name="Oval 292"/>
          <p:cNvSpPr/>
          <p:nvPr userDrawn="1"/>
        </p:nvSpPr>
        <p:spPr>
          <a:xfrm>
            <a:off x="274595" y="2177471"/>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94" name="Oval 293"/>
          <p:cNvSpPr/>
          <p:nvPr userDrawn="1"/>
        </p:nvSpPr>
        <p:spPr>
          <a:xfrm>
            <a:off x="493876" y="3258635"/>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95" name="Oval 294"/>
          <p:cNvSpPr/>
          <p:nvPr userDrawn="1"/>
        </p:nvSpPr>
        <p:spPr>
          <a:xfrm>
            <a:off x="452823" y="3008521"/>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96" name="Oval 295"/>
          <p:cNvSpPr/>
          <p:nvPr userDrawn="1"/>
        </p:nvSpPr>
        <p:spPr>
          <a:xfrm>
            <a:off x="418263" y="2965929"/>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97" name="Oval 296"/>
          <p:cNvSpPr/>
          <p:nvPr userDrawn="1"/>
        </p:nvSpPr>
        <p:spPr>
          <a:xfrm>
            <a:off x="344089" y="2911004"/>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98" name="Oval 297"/>
          <p:cNvSpPr/>
          <p:nvPr userDrawn="1"/>
        </p:nvSpPr>
        <p:spPr>
          <a:xfrm>
            <a:off x="2426783" y="5870101"/>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99" name="Oval 298"/>
          <p:cNvSpPr/>
          <p:nvPr userDrawn="1"/>
        </p:nvSpPr>
        <p:spPr>
          <a:xfrm>
            <a:off x="9685995" y="1200515"/>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00" name="Oval 299"/>
          <p:cNvSpPr/>
          <p:nvPr userDrawn="1"/>
        </p:nvSpPr>
        <p:spPr>
          <a:xfrm>
            <a:off x="9870860" y="1588979"/>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01" name="Oval 300"/>
          <p:cNvSpPr/>
          <p:nvPr userDrawn="1"/>
        </p:nvSpPr>
        <p:spPr>
          <a:xfrm>
            <a:off x="10658100" y="1001763"/>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02" name="Oval 301"/>
          <p:cNvSpPr/>
          <p:nvPr userDrawn="1"/>
        </p:nvSpPr>
        <p:spPr>
          <a:xfrm>
            <a:off x="6220783" y="5347457"/>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29" name="Oval 228"/>
          <p:cNvSpPr/>
          <p:nvPr userDrawn="1"/>
        </p:nvSpPr>
        <p:spPr>
          <a:xfrm>
            <a:off x="5546117" y="1581016"/>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68" name="Oval 267"/>
          <p:cNvSpPr/>
          <p:nvPr userDrawn="1"/>
        </p:nvSpPr>
        <p:spPr>
          <a:xfrm>
            <a:off x="1377159" y="2203832"/>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69" name="Oval 268"/>
          <p:cNvSpPr/>
          <p:nvPr userDrawn="1"/>
        </p:nvSpPr>
        <p:spPr>
          <a:xfrm>
            <a:off x="4649461" y="2614875"/>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28" name="Oval 227"/>
          <p:cNvSpPr/>
          <p:nvPr userDrawn="1"/>
        </p:nvSpPr>
        <p:spPr>
          <a:xfrm>
            <a:off x="469667" y="2616383"/>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67" name="Oval 266"/>
          <p:cNvSpPr/>
          <p:nvPr userDrawn="1"/>
        </p:nvSpPr>
        <p:spPr>
          <a:xfrm>
            <a:off x="5123461" y="2109336"/>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Oval 1">
            <a:extLst>
              <a:ext uri="{FF2B5EF4-FFF2-40B4-BE49-F238E27FC236}">
                <a16:creationId xmlns:a16="http://schemas.microsoft.com/office/drawing/2014/main" id="{508DF1C7-AD04-4A95-2472-F54259FF8A27}"/>
              </a:ext>
            </a:extLst>
          </p:cNvPr>
          <p:cNvSpPr/>
          <p:nvPr userDrawn="1"/>
        </p:nvSpPr>
        <p:spPr>
          <a:xfrm>
            <a:off x="10554447" y="1465471"/>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 name="Oval 3">
            <a:extLst>
              <a:ext uri="{FF2B5EF4-FFF2-40B4-BE49-F238E27FC236}">
                <a16:creationId xmlns:a16="http://schemas.microsoft.com/office/drawing/2014/main" id="{FE2845E2-8FE9-7613-9DBE-92413A0CD810}"/>
              </a:ext>
            </a:extLst>
          </p:cNvPr>
          <p:cNvSpPr/>
          <p:nvPr userDrawn="1"/>
        </p:nvSpPr>
        <p:spPr>
          <a:xfrm>
            <a:off x="1625897" y="670697"/>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5" name="Oval 4">
            <a:extLst>
              <a:ext uri="{FF2B5EF4-FFF2-40B4-BE49-F238E27FC236}">
                <a16:creationId xmlns:a16="http://schemas.microsoft.com/office/drawing/2014/main" id="{1CB3C4E7-7EF8-EC6E-2B0C-933B225611F1}"/>
              </a:ext>
            </a:extLst>
          </p:cNvPr>
          <p:cNvSpPr/>
          <p:nvPr userDrawn="1"/>
        </p:nvSpPr>
        <p:spPr>
          <a:xfrm>
            <a:off x="5313939" y="2598551"/>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7" name="Picture 6">
            <a:extLst>
              <a:ext uri="{FF2B5EF4-FFF2-40B4-BE49-F238E27FC236}">
                <a16:creationId xmlns:a16="http://schemas.microsoft.com/office/drawing/2014/main" id="{9E8849EE-F403-41E2-BA06-2FCC4752A022}"/>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1081437" y="6156800"/>
            <a:ext cx="838422" cy="483395"/>
          </a:xfrm>
          <a:prstGeom prst="rect">
            <a:avLst/>
          </a:prstGeom>
        </p:spPr>
      </p:pic>
      <p:sp>
        <p:nvSpPr>
          <p:cNvPr id="8" name="Oval 7">
            <a:extLst>
              <a:ext uri="{FF2B5EF4-FFF2-40B4-BE49-F238E27FC236}">
                <a16:creationId xmlns:a16="http://schemas.microsoft.com/office/drawing/2014/main" id="{B51A6DEE-497E-F571-66FD-50BB4F7007B3}"/>
              </a:ext>
            </a:extLst>
          </p:cNvPr>
          <p:cNvSpPr/>
          <p:nvPr userDrawn="1"/>
        </p:nvSpPr>
        <p:spPr>
          <a:xfrm>
            <a:off x="4513689" y="2933909"/>
            <a:ext cx="274320" cy="274320"/>
          </a:xfrm>
          <a:prstGeom prst="ellipse">
            <a:avLst/>
          </a:prstGeom>
          <a:solidFill>
            <a:srgbClr val="EBC470"/>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33073356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ocial Media">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BEBA8EAE-BF5A-486C-A8C5-ECC9F3942E4B}">
                <a14:imgProps xmlns:a14="http://schemas.microsoft.com/office/drawing/2010/main">
                  <a14:imgLayer r:embed="rId3">
                    <a14:imgEffect>
                      <a14:artisticBlur radius="6"/>
                    </a14:imgEffect>
                  </a14:imgLayer>
                </a14:imgProps>
              </a:ex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Date Placeholder 2"/>
          <p:cNvSpPr>
            <a:spLocks noGrp="1"/>
          </p:cNvSpPr>
          <p:nvPr>
            <p:ph type="dt" sz="half" idx="10"/>
          </p:nvPr>
        </p:nvSpPr>
        <p:spPr/>
        <p:txBody>
          <a:bodyPr/>
          <a:lstStyle/>
          <a:p>
            <a:fld id="{C48ADFD3-F854-41F5-BFAE-93B13FD028EA}" type="datetimeFigureOut">
              <a:rPr lang="en-US" smtClean="0"/>
              <a:t>4/2/2026</a:t>
            </a:fld>
            <a:endParaRPr lang="en-US"/>
          </a:p>
        </p:txBody>
      </p:sp>
      <p:sp>
        <p:nvSpPr>
          <p:cNvPr id="9"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10" name="Slide Number Placeholder 5"/>
          <p:cNvSpPr>
            <a:spLocks noGrp="1"/>
          </p:cNvSpPr>
          <p:nvPr>
            <p:ph type="sldNum" sz="quarter" idx="14"/>
          </p:nvPr>
        </p:nvSpPr>
        <p:spPr>
          <a:xfrm>
            <a:off x="8610600" y="6356350"/>
            <a:ext cx="2743200" cy="365125"/>
          </a:xfrm>
          <a:prstGeom prst="rect">
            <a:avLst/>
          </a:prstGeom>
        </p:spPr>
        <p:txBody>
          <a:bodyPr/>
          <a:lstStyle/>
          <a:p>
            <a:fld id="{6780B6AC-FBDE-415B-BDC5-8937C05D3A52}" type="slidenum">
              <a:rPr lang="en-US" smtClean="0"/>
              <a:t>‹#›</a:t>
            </a:fld>
            <a:endParaRPr lang="en-US"/>
          </a:p>
        </p:txBody>
      </p:sp>
      <p:sp>
        <p:nvSpPr>
          <p:cNvPr id="8" name="TextBox 7"/>
          <p:cNvSpPr txBox="1"/>
          <p:nvPr userDrawn="1"/>
        </p:nvSpPr>
        <p:spPr>
          <a:xfrm>
            <a:off x="2819400" y="536411"/>
            <a:ext cx="6553200" cy="707886"/>
          </a:xfrm>
          <a:prstGeom prst="rect">
            <a:avLst/>
          </a:prstGeom>
          <a:noFill/>
        </p:spPr>
        <p:txBody>
          <a:bodyPr wrap="square" rtlCol="0">
            <a:spAutoFit/>
          </a:bodyPr>
          <a:lstStyle/>
          <a:p>
            <a:pPr algn="ctr"/>
            <a:r>
              <a:rPr lang="en-US" sz="4000" b="1" dirty="0">
                <a:solidFill>
                  <a:schemeClr val="bg1"/>
                </a:solidFill>
                <a:latin typeface="Arial" panose="020B0604020202020204" pitchFamily="34" charset="0"/>
                <a:cs typeface="Arial" panose="020B0604020202020204" pitchFamily="34" charset="0"/>
              </a:rPr>
              <a:t>Find Us Online</a:t>
            </a:r>
          </a:p>
        </p:txBody>
      </p:sp>
      <p:sp>
        <p:nvSpPr>
          <p:cNvPr id="11" name="TextBox 10"/>
          <p:cNvSpPr txBox="1"/>
          <p:nvPr userDrawn="1"/>
        </p:nvSpPr>
        <p:spPr>
          <a:xfrm>
            <a:off x="2884715" y="2218377"/>
            <a:ext cx="6422571" cy="523220"/>
          </a:xfrm>
          <a:prstGeom prst="rect">
            <a:avLst/>
          </a:prstGeom>
          <a:noFill/>
        </p:spPr>
        <p:txBody>
          <a:bodyPr wrap="square" rtlCol="0">
            <a:spAutoFit/>
          </a:bodyPr>
          <a:lstStyle/>
          <a:p>
            <a:pPr algn="ctr"/>
            <a:r>
              <a:rPr lang="en-US" sz="2800" dirty="0">
                <a:solidFill>
                  <a:schemeClr val="bg1"/>
                </a:solidFill>
                <a:latin typeface="Arial" panose="020B0604020202020204" pitchFamily="34" charset="0"/>
                <a:cs typeface="Arial" panose="020B0604020202020204" pitchFamily="34" charset="0"/>
              </a:rPr>
              <a:t>www.ogletree.com</a:t>
            </a:r>
          </a:p>
        </p:txBody>
      </p:sp>
      <p:sp>
        <p:nvSpPr>
          <p:cNvPr id="12" name="TextBox 11"/>
          <p:cNvSpPr txBox="1"/>
          <p:nvPr userDrawn="1"/>
        </p:nvSpPr>
        <p:spPr>
          <a:xfrm>
            <a:off x="2884715" y="3392659"/>
            <a:ext cx="6422571" cy="523220"/>
          </a:xfrm>
          <a:prstGeom prst="rect">
            <a:avLst/>
          </a:prstGeom>
          <a:noFill/>
        </p:spPr>
        <p:txBody>
          <a:bodyPr wrap="square" rtlCol="0">
            <a:spAutoFit/>
          </a:bodyPr>
          <a:lstStyle/>
          <a:p>
            <a:pPr algn="ctr"/>
            <a:r>
              <a:rPr lang="en-US" sz="2800" kern="1200" dirty="0">
                <a:solidFill>
                  <a:schemeClr val="bg1"/>
                </a:solidFill>
                <a:latin typeface="Arial" panose="020B0604020202020204" pitchFamily="34" charset="0"/>
                <a:ea typeface="+mn-ea"/>
                <a:cs typeface="Arial" panose="020B0604020202020204" pitchFamily="34" charset="0"/>
              </a:rPr>
              <a:t>twitter.com/</a:t>
            </a:r>
            <a:r>
              <a:rPr lang="en-US" sz="2800" kern="1200" dirty="0" err="1">
                <a:solidFill>
                  <a:schemeClr val="bg1"/>
                </a:solidFill>
                <a:latin typeface="Arial" panose="020B0604020202020204" pitchFamily="34" charset="0"/>
                <a:ea typeface="+mn-ea"/>
                <a:cs typeface="Arial" panose="020B0604020202020204" pitchFamily="34" charset="0"/>
              </a:rPr>
              <a:t>ogletreedeakins</a:t>
            </a:r>
            <a:endParaRPr lang="en-US" sz="2800" kern="1200" dirty="0">
              <a:solidFill>
                <a:schemeClr val="bg1"/>
              </a:solidFill>
              <a:latin typeface="Arial" panose="020B0604020202020204" pitchFamily="34" charset="0"/>
              <a:ea typeface="+mn-ea"/>
              <a:cs typeface="Arial" panose="020B0604020202020204" pitchFamily="34" charset="0"/>
            </a:endParaRPr>
          </a:p>
        </p:txBody>
      </p:sp>
      <p:sp>
        <p:nvSpPr>
          <p:cNvPr id="13" name="TextBox 12"/>
          <p:cNvSpPr txBox="1"/>
          <p:nvPr userDrawn="1"/>
        </p:nvSpPr>
        <p:spPr>
          <a:xfrm>
            <a:off x="2669107" y="4675266"/>
            <a:ext cx="6853787" cy="523220"/>
          </a:xfrm>
          <a:prstGeom prst="rect">
            <a:avLst/>
          </a:prstGeom>
          <a:noFill/>
        </p:spPr>
        <p:txBody>
          <a:bodyPr wrap="square" rtlCol="0">
            <a:spAutoFit/>
          </a:bodyPr>
          <a:lstStyle/>
          <a:p>
            <a:pPr algn="ctr"/>
            <a:r>
              <a:rPr lang="en-US" sz="2800" kern="1200" dirty="0">
                <a:solidFill>
                  <a:schemeClr val="bg1"/>
                </a:solidFill>
                <a:latin typeface="Arial" panose="020B0604020202020204" pitchFamily="34" charset="0"/>
                <a:ea typeface="+mn-ea"/>
                <a:cs typeface="Arial" panose="020B0604020202020204" pitchFamily="34" charset="0"/>
              </a:rPr>
              <a:t>linkedin.com/company/</a:t>
            </a:r>
            <a:r>
              <a:rPr lang="en-US" sz="2800" kern="1200" dirty="0" err="1">
                <a:solidFill>
                  <a:schemeClr val="bg1"/>
                </a:solidFill>
                <a:latin typeface="Arial" panose="020B0604020202020204" pitchFamily="34" charset="0"/>
                <a:ea typeface="+mn-ea"/>
                <a:cs typeface="Arial" panose="020B0604020202020204" pitchFamily="34" charset="0"/>
              </a:rPr>
              <a:t>ogletree-deakins</a:t>
            </a:r>
            <a:endParaRPr lang="en-US" sz="2800" kern="1200" dirty="0">
              <a:solidFill>
                <a:schemeClr val="bg1"/>
              </a:solidFill>
              <a:latin typeface="Arial" panose="020B0604020202020204" pitchFamily="34" charset="0"/>
              <a:ea typeface="+mn-ea"/>
              <a:cs typeface="Arial" panose="020B0604020202020204" pitchFamily="34" charset="0"/>
            </a:endParaRPr>
          </a:p>
        </p:txBody>
      </p:sp>
      <p:pic>
        <p:nvPicPr>
          <p:cNvPr id="14" name="Picture 1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816007" y="4148886"/>
            <a:ext cx="559986" cy="493032"/>
          </a:xfrm>
          <a:prstGeom prst="rect">
            <a:avLst/>
          </a:prstGeom>
        </p:spPr>
      </p:pic>
      <p:pic>
        <p:nvPicPr>
          <p:cNvPr id="15" name="Picture 14"/>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5714136" y="2836541"/>
            <a:ext cx="763728" cy="621165"/>
          </a:xfrm>
          <a:prstGeom prst="rect">
            <a:avLst/>
          </a:prstGeom>
        </p:spPr>
      </p:pic>
      <p:pic>
        <p:nvPicPr>
          <p:cNvPr id="16" name="Picture 15"/>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5704115" y="1517916"/>
            <a:ext cx="783771" cy="783771"/>
          </a:xfrm>
          <a:prstGeom prst="rect">
            <a:avLst/>
          </a:prstGeom>
        </p:spPr>
      </p:pic>
      <p:pic>
        <p:nvPicPr>
          <p:cNvPr id="17" name="Picture 16"/>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5527040" y="5587712"/>
            <a:ext cx="1151153" cy="663701"/>
          </a:xfrm>
          <a:prstGeom prst="rect">
            <a:avLst/>
          </a:prstGeom>
        </p:spPr>
      </p:pic>
    </p:spTree>
    <p:extLst>
      <p:ext uri="{BB962C8B-B14F-4D97-AF65-F5344CB8AC3E}">
        <p14:creationId xmlns:p14="http://schemas.microsoft.com/office/powerpoint/2010/main" val="32311387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bout Offic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hasCustomPrompt="1"/>
          </p:nvPr>
        </p:nvSpPr>
        <p:spPr>
          <a:xfrm>
            <a:off x="677636" y="232117"/>
            <a:ext cx="10676164" cy="1125991"/>
          </a:xfrm>
          <a:prstGeom prst="rect">
            <a:avLst/>
          </a:prstGeom>
        </p:spPr>
        <p:txBody>
          <a:bodyPr/>
          <a:lstStyle>
            <a:lvl1pPr algn="ctr">
              <a:defRPr baseline="0">
                <a:solidFill>
                  <a:schemeClr val="bg1"/>
                </a:solidFill>
              </a:defRPr>
            </a:lvl1pPr>
          </a:lstStyle>
          <a:p>
            <a:r>
              <a:rPr lang="en-US" dirty="0"/>
              <a:t>Click to edit title</a:t>
            </a:r>
          </a:p>
        </p:txBody>
      </p:sp>
      <p:sp>
        <p:nvSpPr>
          <p:cNvPr id="3" name="Date Placeholder 2"/>
          <p:cNvSpPr>
            <a:spLocks noGrp="1"/>
          </p:cNvSpPr>
          <p:nvPr>
            <p:ph type="dt" sz="half" idx="10"/>
          </p:nvPr>
        </p:nvSpPr>
        <p:spPr/>
        <p:txBody>
          <a:bodyPr/>
          <a:lstStyle/>
          <a:p>
            <a:fld id="{C48ADFD3-F854-41F5-BFAE-93B13FD028EA}" type="datetimeFigureOut">
              <a:rPr lang="en-US" smtClean="0"/>
              <a:t>4/2/2026</a:t>
            </a:fld>
            <a:endParaRPr lang="en-US"/>
          </a:p>
        </p:txBody>
      </p:sp>
      <p:sp>
        <p:nvSpPr>
          <p:cNvPr id="7" name="Text Placeholder 6"/>
          <p:cNvSpPr>
            <a:spLocks noGrp="1"/>
          </p:cNvSpPr>
          <p:nvPr>
            <p:ph type="body" sz="quarter" idx="12" hasCustomPrompt="1"/>
          </p:nvPr>
        </p:nvSpPr>
        <p:spPr>
          <a:xfrm>
            <a:off x="677636" y="1671241"/>
            <a:ext cx="10676164" cy="4371976"/>
          </a:xfrm>
        </p:spPr>
        <p:txBody>
          <a:bodyPr>
            <a:normAutofit/>
          </a:bodyPr>
          <a:lstStyle>
            <a:lvl1pPr marL="0" indent="0" algn="ctr">
              <a:buNone/>
              <a:defRPr sz="2800">
                <a:solidFill>
                  <a:schemeClr val="bg1"/>
                </a:solidFill>
                <a:latin typeface="Arial" panose="020B0604020202020204" pitchFamily="34" charset="0"/>
                <a:cs typeface="Arial" panose="020B0604020202020204" pitchFamily="34" charset="0"/>
              </a:defRPr>
            </a:lvl1pPr>
          </a:lstStyle>
          <a:p>
            <a:pPr lvl="0"/>
            <a:r>
              <a:rPr lang="en-US" dirty="0"/>
              <a:t>Click to edit text</a:t>
            </a:r>
          </a:p>
        </p:txBody>
      </p:sp>
      <p:sp>
        <p:nvSpPr>
          <p:cNvPr id="9"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10" name="Slide Number Placeholder 5"/>
          <p:cNvSpPr>
            <a:spLocks noGrp="1"/>
          </p:cNvSpPr>
          <p:nvPr>
            <p:ph type="sldNum" sz="quarter" idx="14"/>
          </p:nvPr>
        </p:nvSpPr>
        <p:spPr>
          <a:xfrm>
            <a:off x="8610600" y="6356350"/>
            <a:ext cx="2743200" cy="365125"/>
          </a:xfrm>
          <a:prstGeom prst="rect">
            <a:avLst/>
          </a:prstGeom>
        </p:spPr>
        <p:txBody>
          <a:bodyPr/>
          <a:lstStyle/>
          <a:p>
            <a:fld id="{6780B6AC-FBDE-415B-BDC5-8937C05D3A52}" type="slidenum">
              <a:rPr lang="en-US" smtClean="0"/>
              <a:t>‹#›</a:t>
            </a:fld>
            <a:endParaRPr lang="en-US"/>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1121270" y="6186694"/>
            <a:ext cx="821817" cy="473821"/>
          </a:xfrm>
          <a:prstGeom prst="rect">
            <a:avLst/>
          </a:prstGeom>
        </p:spPr>
      </p:pic>
    </p:spTree>
    <p:extLst>
      <p:ext uri="{BB962C8B-B14F-4D97-AF65-F5344CB8AC3E}">
        <p14:creationId xmlns:p14="http://schemas.microsoft.com/office/powerpoint/2010/main" val="2105913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b="13165"/>
          <a:stretch/>
        </p:blipFill>
        <p:spPr>
          <a:xfrm>
            <a:off x="0" y="1"/>
            <a:ext cx="5269584" cy="6862712"/>
          </a:xfrm>
          <a:prstGeom prst="rect">
            <a:avLst/>
          </a:prstGeom>
        </p:spPr>
      </p:pic>
      <p:sp>
        <p:nvSpPr>
          <p:cNvPr id="3" name="Picture Placeholder 2"/>
          <p:cNvSpPr>
            <a:spLocks noGrp="1"/>
          </p:cNvSpPr>
          <p:nvPr>
            <p:ph type="pic" idx="1"/>
          </p:nvPr>
        </p:nvSpPr>
        <p:spPr>
          <a:xfrm>
            <a:off x="0" y="1"/>
            <a:ext cx="5269584" cy="6857999"/>
          </a:xfrm>
        </p:spPr>
        <p:txBody>
          <a:bodyPr/>
          <a:lstStyle>
            <a:lvl1pPr marL="0" indent="0">
              <a:buNone/>
              <a:defRPr sz="3200" baseline="0">
                <a:solidFill>
                  <a:srgbClr val="00447B"/>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2" name="Title 1"/>
          <p:cNvSpPr>
            <a:spLocks noGrp="1"/>
          </p:cNvSpPr>
          <p:nvPr>
            <p:ph type="title"/>
          </p:nvPr>
        </p:nvSpPr>
        <p:spPr>
          <a:xfrm>
            <a:off x="5929461" y="514350"/>
            <a:ext cx="6014890" cy="1600200"/>
          </a:xfrm>
          <a:prstGeom prst="rect">
            <a:avLst/>
          </a:prstGeom>
        </p:spPr>
        <p:txBody>
          <a:bodyPr anchor="b"/>
          <a:lstStyle>
            <a:lvl1pPr>
              <a:defRPr sz="3200"/>
            </a:lvl1pPr>
          </a:lstStyle>
          <a:p>
            <a:r>
              <a:rPr lang="en-US" dirty="0"/>
              <a:t>Click to edit Master title style</a:t>
            </a:r>
          </a:p>
        </p:txBody>
      </p:sp>
      <p:sp>
        <p:nvSpPr>
          <p:cNvPr id="4" name="Text Placeholder 3"/>
          <p:cNvSpPr>
            <a:spLocks noGrp="1"/>
          </p:cNvSpPr>
          <p:nvPr>
            <p:ph type="body" sz="half" idx="2"/>
          </p:nvPr>
        </p:nvSpPr>
        <p:spPr>
          <a:xfrm>
            <a:off x="5929461" y="2114550"/>
            <a:ext cx="6014890" cy="3811588"/>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p:txBody>
          <a:bodyPr/>
          <a:lstStyle/>
          <a:p>
            <a:fld id="{C48ADFD3-F854-41F5-BFAE-93B13FD028EA}" type="datetimeFigureOut">
              <a:rPr lang="en-US" smtClean="0"/>
              <a:t>4/2/2026</a:t>
            </a:fld>
            <a:endParaRPr lang="en-US"/>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6780B6AC-FBDE-415B-BDC5-8937C05D3A52}" type="slidenum">
              <a:rPr lang="en-US" smtClean="0"/>
              <a:t>‹#›</a:t>
            </a:fld>
            <a:endParaRPr lang="en-US"/>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1122077" y="6156800"/>
            <a:ext cx="838422" cy="483395"/>
          </a:xfrm>
          <a:prstGeom prst="rect">
            <a:avLst/>
          </a:prstGeom>
        </p:spPr>
      </p:pic>
    </p:spTree>
    <p:extLst>
      <p:ext uri="{BB962C8B-B14F-4D97-AF65-F5344CB8AC3E}">
        <p14:creationId xmlns:p14="http://schemas.microsoft.com/office/powerpoint/2010/main" val="17485615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Icons">
    <p:spTree>
      <p:nvGrpSpPr>
        <p:cNvPr id="1" name=""/>
        <p:cNvGrpSpPr/>
        <p:nvPr/>
      </p:nvGrpSpPr>
      <p:grpSpPr>
        <a:xfrm>
          <a:off x="0" y="0"/>
          <a:ext cx="0" cy="0"/>
          <a:chOff x="0" y="0"/>
          <a:chExt cx="0" cy="0"/>
        </a:xfrm>
      </p:grpSpPr>
      <p:sp>
        <p:nvSpPr>
          <p:cNvPr id="2" name="Title 1"/>
          <p:cNvSpPr>
            <a:spLocks noGrp="1"/>
          </p:cNvSpPr>
          <p:nvPr>
            <p:ph type="title"/>
          </p:nvPr>
        </p:nvSpPr>
        <p:spPr>
          <a:xfrm>
            <a:off x="677636" y="520247"/>
            <a:ext cx="10676164" cy="1125991"/>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p:txBody>
          <a:bodyPr/>
          <a:lstStyle/>
          <a:p>
            <a:fld id="{C48ADFD3-F854-41F5-BFAE-93B13FD028EA}" type="datetimeFigureOut">
              <a:rPr lang="en-US" smtClean="0"/>
              <a:t>4/2/2026</a:t>
            </a:fld>
            <a:endParaRPr lang="en-US"/>
          </a:p>
        </p:txBody>
      </p:sp>
      <p:sp>
        <p:nvSpPr>
          <p:cNvPr id="7" name="Rectangle 6"/>
          <p:cNvSpPr/>
          <p:nvPr userDrawn="1"/>
        </p:nvSpPr>
        <p:spPr bwMode="gray">
          <a:xfrm>
            <a:off x="5280582" y="2090262"/>
            <a:ext cx="1630837" cy="1630837"/>
          </a:xfrm>
          <a:prstGeom prst="rect">
            <a:avLst/>
          </a:prstGeom>
          <a:gradFill>
            <a:gsLst>
              <a:gs pos="0">
                <a:srgbClr val="99BCE4"/>
              </a:gs>
              <a:gs pos="100000">
                <a:srgbClr val="99BCE4">
                  <a:alpha val="46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userDrawn="1"/>
        </p:nvSpPr>
        <p:spPr bwMode="gray">
          <a:xfrm>
            <a:off x="8777965" y="2090262"/>
            <a:ext cx="1630837" cy="1630837"/>
          </a:xfrm>
          <a:prstGeom prst="rect">
            <a:avLst/>
          </a:prstGeom>
          <a:gradFill>
            <a:gsLst>
              <a:gs pos="0">
                <a:srgbClr val="99BCE4"/>
              </a:gs>
              <a:gs pos="100000">
                <a:srgbClr val="99BCE4">
                  <a:alpha val="46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p:cNvSpPr>
            <a:spLocks noGrp="1"/>
          </p:cNvSpPr>
          <p:nvPr>
            <p:ph type="body" sz="quarter" idx="11"/>
          </p:nvPr>
        </p:nvSpPr>
        <p:spPr>
          <a:xfrm>
            <a:off x="1184330" y="3881853"/>
            <a:ext cx="2809875" cy="671294"/>
          </a:xfrm>
        </p:spPr>
        <p:txBody>
          <a:bodyPr/>
          <a:lstStyle>
            <a:lvl1pPr marL="0" indent="0" algn="ctr">
              <a:buNone/>
              <a:defRPr>
                <a:solidFill>
                  <a:srgbClr val="00447B"/>
                </a:solidFill>
              </a:defRPr>
            </a:lvl1pPr>
            <a:lvl2pPr marL="457200" indent="0" algn="l">
              <a:buNone/>
              <a:defRPr/>
            </a:lvl2pPr>
            <a:lvl3pPr marL="914400" indent="0" algn="ctr">
              <a:buNone/>
              <a:defRPr/>
            </a:lvl3pPr>
            <a:lvl4pPr marL="1371600" indent="0" algn="ctr">
              <a:buNone/>
              <a:defRPr/>
            </a:lvl4pPr>
            <a:lvl5pPr marL="1828800" indent="0" algn="ctr">
              <a:buNone/>
              <a:defRPr/>
            </a:lvl5pPr>
          </a:lstStyle>
          <a:p>
            <a:pPr lvl="0"/>
            <a:r>
              <a:rPr lang="en-US" dirty="0"/>
              <a:t>Edit Master text</a:t>
            </a:r>
          </a:p>
        </p:txBody>
      </p:sp>
      <p:sp>
        <p:nvSpPr>
          <p:cNvPr id="12" name="Text Placeholder 11"/>
          <p:cNvSpPr>
            <a:spLocks noGrp="1"/>
          </p:cNvSpPr>
          <p:nvPr>
            <p:ph type="body" sz="quarter" idx="12"/>
          </p:nvPr>
        </p:nvSpPr>
        <p:spPr>
          <a:xfrm>
            <a:off x="1184330" y="4553048"/>
            <a:ext cx="2809875" cy="1584325"/>
          </a:xfrm>
        </p:spPr>
        <p:txBody>
          <a:bodyPr>
            <a:normAutofit/>
          </a:bodyPr>
          <a:lstStyle>
            <a:lvl1pPr marL="0" indent="0" algn="ctr">
              <a:buNone/>
              <a:defRPr sz="2000"/>
            </a:lvl1pPr>
          </a:lstStyle>
          <a:p>
            <a:pPr lvl="0"/>
            <a:r>
              <a:rPr lang="en-US" dirty="0"/>
              <a:t>Edit Master text styles</a:t>
            </a:r>
          </a:p>
        </p:txBody>
      </p:sp>
      <p:sp>
        <p:nvSpPr>
          <p:cNvPr id="13" name="Text Placeholder 9"/>
          <p:cNvSpPr>
            <a:spLocks noGrp="1"/>
          </p:cNvSpPr>
          <p:nvPr>
            <p:ph type="body" sz="quarter" idx="13"/>
          </p:nvPr>
        </p:nvSpPr>
        <p:spPr>
          <a:xfrm>
            <a:off x="4691063" y="3899547"/>
            <a:ext cx="2809875" cy="671294"/>
          </a:xfrm>
        </p:spPr>
        <p:txBody>
          <a:bodyPr>
            <a:normAutofit/>
          </a:bodyPr>
          <a:lstStyle>
            <a:lvl1pPr marL="0" indent="0" algn="ctr">
              <a:buNone/>
              <a:defRPr lang="en-US" sz="2800" kern="1200" dirty="0" smtClean="0">
                <a:solidFill>
                  <a:srgbClr val="00447B"/>
                </a:solidFill>
                <a:latin typeface="Arial" panose="020B0604020202020204" pitchFamily="34" charset="0"/>
                <a:ea typeface="+mn-ea"/>
                <a:cs typeface="Arial" panose="020B0604020202020204" pitchFamily="34" charset="0"/>
              </a:defRPr>
            </a:lvl1pPr>
            <a:lvl2pPr marL="457200" indent="0" algn="l">
              <a:buNone/>
              <a:defRPr/>
            </a:lvl2pPr>
            <a:lvl3pPr marL="914400" indent="0" algn="ctr">
              <a:buNone/>
              <a:defRPr/>
            </a:lvl3pPr>
            <a:lvl4pPr marL="1371600" indent="0" algn="ctr">
              <a:buNone/>
              <a:defRPr/>
            </a:lvl4pPr>
            <a:lvl5pPr marL="1828800" indent="0" algn="ctr">
              <a:buNone/>
              <a:defRPr/>
            </a:lvl5pPr>
          </a:lstStyle>
          <a:p>
            <a:pPr marL="0" lvl="0" indent="0" algn="ctr" defTabSz="914400" rtl="0" eaLnBrk="1" latinLnBrk="0" hangingPunct="1">
              <a:lnSpc>
                <a:spcPct val="90000"/>
              </a:lnSpc>
              <a:spcBef>
                <a:spcPts val="1000"/>
              </a:spcBef>
              <a:buFont typeface="Arial" panose="020B0604020202020204" pitchFamily="34" charset="0"/>
              <a:buNone/>
            </a:pPr>
            <a:r>
              <a:rPr lang="en-US" dirty="0"/>
              <a:t>Edit Master text</a:t>
            </a:r>
          </a:p>
        </p:txBody>
      </p:sp>
      <p:sp>
        <p:nvSpPr>
          <p:cNvPr id="14" name="Text Placeholder 11"/>
          <p:cNvSpPr>
            <a:spLocks noGrp="1"/>
          </p:cNvSpPr>
          <p:nvPr>
            <p:ph type="body" sz="quarter" idx="14"/>
          </p:nvPr>
        </p:nvSpPr>
        <p:spPr>
          <a:xfrm>
            <a:off x="4691063" y="4570742"/>
            <a:ext cx="2809875" cy="1584325"/>
          </a:xfrm>
        </p:spPr>
        <p:txBody>
          <a:bodyPr>
            <a:normAutofit/>
          </a:bodyPr>
          <a:lstStyle>
            <a:lvl1pPr marL="0" indent="0" algn="ctr">
              <a:buNone/>
              <a:defRPr sz="2000"/>
            </a:lvl1pPr>
          </a:lstStyle>
          <a:p>
            <a:pPr lvl="0"/>
            <a:r>
              <a:rPr lang="en-US" dirty="0"/>
              <a:t>Edit Master text styles</a:t>
            </a:r>
          </a:p>
        </p:txBody>
      </p:sp>
      <p:sp>
        <p:nvSpPr>
          <p:cNvPr id="15" name="Text Placeholder 9"/>
          <p:cNvSpPr>
            <a:spLocks noGrp="1"/>
          </p:cNvSpPr>
          <p:nvPr>
            <p:ph type="body" sz="quarter" idx="15"/>
          </p:nvPr>
        </p:nvSpPr>
        <p:spPr>
          <a:xfrm>
            <a:off x="8188446" y="3899547"/>
            <a:ext cx="2809875" cy="671294"/>
          </a:xfrm>
        </p:spPr>
        <p:txBody>
          <a:bodyPr>
            <a:normAutofit/>
          </a:bodyPr>
          <a:lstStyle>
            <a:lvl1pPr marL="0" indent="0" algn="ctr">
              <a:buNone/>
              <a:defRPr lang="en-US" sz="2800" kern="1200" dirty="0" smtClean="0">
                <a:solidFill>
                  <a:srgbClr val="00447B"/>
                </a:solidFill>
                <a:latin typeface="Arial" panose="020B0604020202020204" pitchFamily="34" charset="0"/>
                <a:ea typeface="+mn-ea"/>
                <a:cs typeface="Arial" panose="020B0604020202020204" pitchFamily="34" charset="0"/>
              </a:defRPr>
            </a:lvl1pPr>
            <a:lvl2pPr marL="457200" indent="0" algn="l">
              <a:buNone/>
              <a:defRPr/>
            </a:lvl2pPr>
            <a:lvl3pPr marL="914400" indent="0" algn="ctr">
              <a:buNone/>
              <a:defRPr/>
            </a:lvl3pPr>
            <a:lvl4pPr marL="1371600" indent="0" algn="ctr">
              <a:buNone/>
              <a:defRPr/>
            </a:lvl4pPr>
            <a:lvl5pPr marL="1828800" indent="0" algn="ctr">
              <a:buNone/>
              <a:defRPr/>
            </a:lvl5pPr>
          </a:lstStyle>
          <a:p>
            <a:pPr marL="0" lvl="0" indent="0" algn="ctr" defTabSz="914400" rtl="0" eaLnBrk="1" latinLnBrk="0" hangingPunct="1">
              <a:lnSpc>
                <a:spcPct val="90000"/>
              </a:lnSpc>
              <a:spcBef>
                <a:spcPts val="1000"/>
              </a:spcBef>
              <a:buFont typeface="Arial" panose="020B0604020202020204" pitchFamily="34" charset="0"/>
              <a:buNone/>
            </a:pPr>
            <a:r>
              <a:rPr lang="en-US" dirty="0"/>
              <a:t>Edit Master text</a:t>
            </a:r>
          </a:p>
        </p:txBody>
      </p:sp>
      <p:sp>
        <p:nvSpPr>
          <p:cNvPr id="16" name="Text Placeholder 11"/>
          <p:cNvSpPr>
            <a:spLocks noGrp="1"/>
          </p:cNvSpPr>
          <p:nvPr>
            <p:ph type="body" sz="quarter" idx="16"/>
          </p:nvPr>
        </p:nvSpPr>
        <p:spPr>
          <a:xfrm>
            <a:off x="8188446" y="4570742"/>
            <a:ext cx="2809875" cy="1584325"/>
          </a:xfrm>
        </p:spPr>
        <p:txBody>
          <a:bodyPr>
            <a:normAutofit/>
          </a:bodyPr>
          <a:lstStyle>
            <a:lvl1pPr marL="0" indent="0" algn="ctr">
              <a:buNone/>
              <a:defRPr sz="2000"/>
            </a:lvl1pPr>
          </a:lstStyle>
          <a:p>
            <a:pPr lvl="0"/>
            <a:r>
              <a:rPr lang="en-US" dirty="0"/>
              <a:t>Edit Master text styles</a:t>
            </a:r>
          </a:p>
        </p:txBody>
      </p:sp>
      <p:sp>
        <p:nvSpPr>
          <p:cNvPr id="17" name="Footer Placeholder 4"/>
          <p:cNvSpPr>
            <a:spLocks noGrp="1"/>
          </p:cNvSpPr>
          <p:nvPr>
            <p:ph type="ftr" sz="quarter" idx="17"/>
          </p:nvPr>
        </p:nvSpPr>
        <p:spPr>
          <a:xfrm>
            <a:off x="4038600" y="6356350"/>
            <a:ext cx="4114800" cy="365125"/>
          </a:xfrm>
          <a:prstGeom prst="rect">
            <a:avLst/>
          </a:prstGeom>
        </p:spPr>
        <p:txBody>
          <a:bodyPr/>
          <a:lstStyle/>
          <a:p>
            <a:endParaRPr lang="en-US"/>
          </a:p>
        </p:txBody>
      </p:sp>
      <p:sp>
        <p:nvSpPr>
          <p:cNvPr id="18" name="Slide Number Placeholder 5"/>
          <p:cNvSpPr>
            <a:spLocks noGrp="1"/>
          </p:cNvSpPr>
          <p:nvPr>
            <p:ph type="sldNum" sz="quarter" idx="18"/>
          </p:nvPr>
        </p:nvSpPr>
        <p:spPr>
          <a:xfrm>
            <a:off x="8610600" y="6356350"/>
            <a:ext cx="2743200" cy="365125"/>
          </a:xfrm>
          <a:prstGeom prst="rect">
            <a:avLst/>
          </a:prstGeom>
        </p:spPr>
        <p:txBody>
          <a:bodyPr/>
          <a:lstStyle/>
          <a:p>
            <a:fld id="{6780B6AC-FBDE-415B-BDC5-8937C05D3A52}" type="slidenum">
              <a:rPr lang="en-US" smtClean="0"/>
              <a:t>‹#›</a:t>
            </a:fld>
            <a:endParaRPr lang="en-US"/>
          </a:p>
        </p:txBody>
      </p:sp>
      <p:sp>
        <p:nvSpPr>
          <p:cNvPr id="19" name="Rectangle 18"/>
          <p:cNvSpPr/>
          <p:nvPr userDrawn="1"/>
        </p:nvSpPr>
        <p:spPr bwMode="gray">
          <a:xfrm>
            <a:off x="1773848" y="2090262"/>
            <a:ext cx="1630837" cy="1630837"/>
          </a:xfrm>
          <a:prstGeom prst="rect">
            <a:avLst/>
          </a:prstGeom>
          <a:gradFill>
            <a:gsLst>
              <a:gs pos="0">
                <a:srgbClr val="99BCE4"/>
              </a:gs>
              <a:gs pos="100000">
                <a:srgbClr val="99BCE4">
                  <a:alpha val="46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1142397" y="6177120"/>
            <a:ext cx="838422" cy="483395"/>
          </a:xfrm>
          <a:prstGeom prst="rect">
            <a:avLst/>
          </a:prstGeom>
        </p:spPr>
      </p:pic>
    </p:spTree>
    <p:extLst>
      <p:ext uri="{BB962C8B-B14F-4D97-AF65-F5344CB8AC3E}">
        <p14:creationId xmlns:p14="http://schemas.microsoft.com/office/powerpoint/2010/main" val="318414746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Icons">
    <p:spTree>
      <p:nvGrpSpPr>
        <p:cNvPr id="1" name=""/>
        <p:cNvGrpSpPr/>
        <p:nvPr/>
      </p:nvGrpSpPr>
      <p:grpSpPr>
        <a:xfrm>
          <a:off x="0" y="0"/>
          <a:ext cx="0" cy="0"/>
          <a:chOff x="0" y="0"/>
          <a:chExt cx="0" cy="0"/>
        </a:xfrm>
      </p:grpSpPr>
      <p:sp>
        <p:nvSpPr>
          <p:cNvPr id="2" name="Title 1"/>
          <p:cNvSpPr>
            <a:spLocks noGrp="1"/>
          </p:cNvSpPr>
          <p:nvPr>
            <p:ph type="title"/>
          </p:nvPr>
        </p:nvSpPr>
        <p:spPr>
          <a:xfrm>
            <a:off x="677636" y="520247"/>
            <a:ext cx="10676164" cy="1125991"/>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p:txBody>
          <a:bodyPr/>
          <a:lstStyle/>
          <a:p>
            <a:fld id="{C48ADFD3-F854-41F5-BFAE-93B13FD028EA}" type="datetimeFigureOut">
              <a:rPr lang="en-US" smtClean="0"/>
              <a:t>4/2/2026</a:t>
            </a:fld>
            <a:endParaRPr lang="en-US"/>
          </a:p>
        </p:txBody>
      </p:sp>
      <p:sp>
        <p:nvSpPr>
          <p:cNvPr id="4" name="Rectangle 3"/>
          <p:cNvSpPr/>
          <p:nvPr userDrawn="1"/>
        </p:nvSpPr>
        <p:spPr bwMode="gray">
          <a:xfrm>
            <a:off x="850023" y="1706391"/>
            <a:ext cx="1630837" cy="1630837"/>
          </a:xfrm>
          <a:prstGeom prst="rect">
            <a:avLst/>
          </a:prstGeom>
          <a:gradFill>
            <a:gsLst>
              <a:gs pos="0">
                <a:srgbClr val="99BCE4"/>
              </a:gs>
              <a:gs pos="100000">
                <a:srgbClr val="99BCE4">
                  <a:alpha val="46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userDrawn="1"/>
        </p:nvSpPr>
        <p:spPr bwMode="gray">
          <a:xfrm>
            <a:off x="3762562" y="1688697"/>
            <a:ext cx="1630837" cy="1630837"/>
          </a:xfrm>
          <a:prstGeom prst="rect">
            <a:avLst/>
          </a:prstGeom>
          <a:gradFill>
            <a:gsLst>
              <a:gs pos="0">
                <a:srgbClr val="99BCE4"/>
              </a:gs>
              <a:gs pos="100000">
                <a:srgbClr val="99BCE4">
                  <a:alpha val="46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userDrawn="1"/>
        </p:nvSpPr>
        <p:spPr bwMode="gray">
          <a:xfrm>
            <a:off x="6675101" y="1688697"/>
            <a:ext cx="1630837" cy="1630837"/>
          </a:xfrm>
          <a:prstGeom prst="rect">
            <a:avLst/>
          </a:prstGeom>
          <a:gradFill>
            <a:gsLst>
              <a:gs pos="0">
                <a:srgbClr val="99BCE4"/>
              </a:gs>
              <a:gs pos="100000">
                <a:srgbClr val="99BCE4">
                  <a:alpha val="46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p:cNvSpPr>
            <a:spLocks noGrp="1"/>
          </p:cNvSpPr>
          <p:nvPr>
            <p:ph type="body" sz="quarter" idx="11"/>
          </p:nvPr>
        </p:nvSpPr>
        <p:spPr>
          <a:xfrm>
            <a:off x="260504" y="3497982"/>
            <a:ext cx="2809875" cy="671294"/>
          </a:xfrm>
        </p:spPr>
        <p:txBody>
          <a:bodyPr>
            <a:normAutofit/>
          </a:bodyPr>
          <a:lstStyle>
            <a:lvl1pPr marL="0" indent="0" algn="ctr">
              <a:buNone/>
              <a:defRPr lang="en-US" sz="2800" kern="1200" dirty="0" smtClean="0">
                <a:solidFill>
                  <a:srgbClr val="00447B"/>
                </a:solidFill>
                <a:latin typeface="Arial" panose="020B0604020202020204" pitchFamily="34" charset="0"/>
                <a:ea typeface="+mn-ea"/>
                <a:cs typeface="Arial" panose="020B0604020202020204" pitchFamily="34" charset="0"/>
              </a:defRPr>
            </a:lvl1pPr>
            <a:lvl2pPr marL="457200" indent="0" algn="l">
              <a:buNone/>
              <a:defRPr/>
            </a:lvl2pPr>
            <a:lvl3pPr marL="914400" indent="0" algn="ctr">
              <a:buNone/>
              <a:defRPr/>
            </a:lvl3pPr>
            <a:lvl4pPr marL="1371600" indent="0" algn="ctr">
              <a:buNone/>
              <a:defRPr/>
            </a:lvl4pPr>
            <a:lvl5pPr marL="1828800" indent="0" algn="ctr">
              <a:buNone/>
              <a:defRPr/>
            </a:lvl5pPr>
          </a:lstStyle>
          <a:p>
            <a:pPr lvl="0"/>
            <a:r>
              <a:rPr lang="en-US" dirty="0"/>
              <a:t>Edit Master text</a:t>
            </a:r>
          </a:p>
        </p:txBody>
      </p:sp>
      <p:sp>
        <p:nvSpPr>
          <p:cNvPr id="12" name="Text Placeholder 11"/>
          <p:cNvSpPr>
            <a:spLocks noGrp="1"/>
          </p:cNvSpPr>
          <p:nvPr>
            <p:ph type="body" sz="quarter" idx="12"/>
          </p:nvPr>
        </p:nvSpPr>
        <p:spPr>
          <a:xfrm>
            <a:off x="260504" y="4169177"/>
            <a:ext cx="2809875" cy="1584325"/>
          </a:xfrm>
        </p:spPr>
        <p:txBody>
          <a:bodyPr>
            <a:normAutofit/>
          </a:bodyPr>
          <a:lstStyle>
            <a:lvl1pPr marL="0" indent="0" algn="ctr">
              <a:buNone/>
              <a:defRPr sz="2000"/>
            </a:lvl1pPr>
          </a:lstStyle>
          <a:p>
            <a:pPr lvl="0"/>
            <a:r>
              <a:rPr lang="en-US" dirty="0"/>
              <a:t>Edit Master text styles</a:t>
            </a:r>
          </a:p>
        </p:txBody>
      </p:sp>
      <p:sp>
        <p:nvSpPr>
          <p:cNvPr id="13" name="Text Placeholder 9"/>
          <p:cNvSpPr>
            <a:spLocks noGrp="1"/>
          </p:cNvSpPr>
          <p:nvPr>
            <p:ph type="body" sz="quarter" idx="13"/>
          </p:nvPr>
        </p:nvSpPr>
        <p:spPr>
          <a:xfrm>
            <a:off x="3173043" y="3497982"/>
            <a:ext cx="2809875" cy="671294"/>
          </a:xfrm>
        </p:spPr>
        <p:txBody>
          <a:bodyPr>
            <a:normAutofit/>
          </a:bodyPr>
          <a:lstStyle>
            <a:lvl1pPr marL="0" indent="0" algn="ctr">
              <a:buNone/>
              <a:defRPr lang="en-US" sz="2800" kern="1200" dirty="0" smtClean="0">
                <a:solidFill>
                  <a:srgbClr val="00447B"/>
                </a:solidFill>
                <a:latin typeface="Arial" panose="020B0604020202020204" pitchFamily="34" charset="0"/>
                <a:ea typeface="+mn-ea"/>
                <a:cs typeface="Arial" panose="020B0604020202020204" pitchFamily="34" charset="0"/>
              </a:defRPr>
            </a:lvl1pPr>
            <a:lvl2pPr marL="457200" indent="0" algn="l">
              <a:buNone/>
              <a:defRPr/>
            </a:lvl2pPr>
            <a:lvl3pPr marL="914400" indent="0" algn="ctr">
              <a:buNone/>
              <a:defRPr/>
            </a:lvl3pPr>
            <a:lvl4pPr marL="1371600" indent="0" algn="ctr">
              <a:buNone/>
              <a:defRPr/>
            </a:lvl4pPr>
            <a:lvl5pPr marL="1828800" indent="0" algn="ctr">
              <a:buNone/>
              <a:defRPr/>
            </a:lvl5pPr>
          </a:lstStyle>
          <a:p>
            <a:pPr marL="0" lvl="0" indent="0" algn="ctr" defTabSz="914400" rtl="0" eaLnBrk="1" latinLnBrk="0" hangingPunct="1">
              <a:lnSpc>
                <a:spcPct val="90000"/>
              </a:lnSpc>
              <a:spcBef>
                <a:spcPts val="1000"/>
              </a:spcBef>
              <a:buFont typeface="Arial" panose="020B0604020202020204" pitchFamily="34" charset="0"/>
              <a:buNone/>
            </a:pPr>
            <a:r>
              <a:rPr lang="en-US" dirty="0"/>
              <a:t>Edit Master text</a:t>
            </a:r>
          </a:p>
        </p:txBody>
      </p:sp>
      <p:sp>
        <p:nvSpPr>
          <p:cNvPr id="14" name="Text Placeholder 11"/>
          <p:cNvSpPr>
            <a:spLocks noGrp="1"/>
          </p:cNvSpPr>
          <p:nvPr>
            <p:ph type="body" sz="quarter" idx="14"/>
          </p:nvPr>
        </p:nvSpPr>
        <p:spPr>
          <a:xfrm>
            <a:off x="3173043" y="4169177"/>
            <a:ext cx="2809875" cy="1584325"/>
          </a:xfrm>
        </p:spPr>
        <p:txBody>
          <a:bodyPr>
            <a:normAutofit/>
          </a:bodyPr>
          <a:lstStyle>
            <a:lvl1pPr marL="0" indent="0" algn="ctr">
              <a:buNone/>
              <a:defRPr sz="2000"/>
            </a:lvl1pPr>
          </a:lstStyle>
          <a:p>
            <a:pPr lvl="0"/>
            <a:r>
              <a:rPr lang="en-US" dirty="0"/>
              <a:t>Edit Master text styles</a:t>
            </a:r>
          </a:p>
        </p:txBody>
      </p:sp>
      <p:sp>
        <p:nvSpPr>
          <p:cNvPr id="15" name="Text Placeholder 9"/>
          <p:cNvSpPr>
            <a:spLocks noGrp="1"/>
          </p:cNvSpPr>
          <p:nvPr>
            <p:ph type="body" sz="quarter" idx="15"/>
          </p:nvPr>
        </p:nvSpPr>
        <p:spPr>
          <a:xfrm>
            <a:off x="6085582" y="3497982"/>
            <a:ext cx="2809875" cy="671294"/>
          </a:xfrm>
        </p:spPr>
        <p:txBody>
          <a:bodyPr>
            <a:normAutofit/>
          </a:bodyPr>
          <a:lstStyle>
            <a:lvl1pPr marL="0" indent="0" algn="ctr">
              <a:buNone/>
              <a:defRPr lang="en-US" sz="2800" kern="1200" dirty="0" smtClean="0">
                <a:solidFill>
                  <a:srgbClr val="00447B"/>
                </a:solidFill>
                <a:latin typeface="Arial" panose="020B0604020202020204" pitchFamily="34" charset="0"/>
                <a:ea typeface="+mn-ea"/>
                <a:cs typeface="Arial" panose="020B0604020202020204" pitchFamily="34" charset="0"/>
              </a:defRPr>
            </a:lvl1pPr>
            <a:lvl2pPr marL="457200" indent="0" algn="l">
              <a:buNone/>
              <a:defRPr/>
            </a:lvl2pPr>
            <a:lvl3pPr marL="914400" indent="0" algn="ctr">
              <a:buNone/>
              <a:defRPr/>
            </a:lvl3pPr>
            <a:lvl4pPr marL="1371600" indent="0" algn="ctr">
              <a:buNone/>
              <a:defRPr/>
            </a:lvl4pPr>
            <a:lvl5pPr marL="1828800" indent="0" algn="ctr">
              <a:buNone/>
              <a:defRPr/>
            </a:lvl5pPr>
          </a:lstStyle>
          <a:p>
            <a:pPr marL="0" lvl="0" indent="0" algn="ctr" defTabSz="914400" rtl="0" eaLnBrk="1" latinLnBrk="0" hangingPunct="1">
              <a:lnSpc>
                <a:spcPct val="90000"/>
              </a:lnSpc>
              <a:spcBef>
                <a:spcPts val="1000"/>
              </a:spcBef>
              <a:buFont typeface="Arial" panose="020B0604020202020204" pitchFamily="34" charset="0"/>
              <a:buNone/>
            </a:pPr>
            <a:r>
              <a:rPr lang="en-US" dirty="0"/>
              <a:t>Edit Master text</a:t>
            </a:r>
          </a:p>
        </p:txBody>
      </p:sp>
      <p:sp>
        <p:nvSpPr>
          <p:cNvPr id="16" name="Text Placeholder 11"/>
          <p:cNvSpPr>
            <a:spLocks noGrp="1"/>
          </p:cNvSpPr>
          <p:nvPr>
            <p:ph type="body" sz="quarter" idx="16"/>
          </p:nvPr>
        </p:nvSpPr>
        <p:spPr>
          <a:xfrm>
            <a:off x="6085582" y="4169177"/>
            <a:ext cx="2809875" cy="1584325"/>
          </a:xfrm>
        </p:spPr>
        <p:txBody>
          <a:bodyPr>
            <a:normAutofit/>
          </a:bodyPr>
          <a:lstStyle>
            <a:lvl1pPr marL="0" indent="0" algn="ctr">
              <a:buNone/>
              <a:defRPr sz="2000"/>
            </a:lvl1pPr>
          </a:lstStyle>
          <a:p>
            <a:pPr lvl="0"/>
            <a:r>
              <a:rPr lang="en-US" dirty="0"/>
              <a:t>Edit Master text styles</a:t>
            </a:r>
          </a:p>
        </p:txBody>
      </p:sp>
      <p:sp>
        <p:nvSpPr>
          <p:cNvPr id="17" name="Rectangle 16"/>
          <p:cNvSpPr/>
          <p:nvPr userDrawn="1"/>
        </p:nvSpPr>
        <p:spPr bwMode="gray">
          <a:xfrm>
            <a:off x="9587640" y="1688697"/>
            <a:ext cx="1630837" cy="1630837"/>
          </a:xfrm>
          <a:prstGeom prst="rect">
            <a:avLst/>
          </a:prstGeom>
          <a:gradFill>
            <a:gsLst>
              <a:gs pos="0">
                <a:srgbClr val="99BCE4"/>
              </a:gs>
              <a:gs pos="100000">
                <a:srgbClr val="99BCE4">
                  <a:alpha val="46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 Placeholder 9"/>
          <p:cNvSpPr>
            <a:spLocks noGrp="1"/>
          </p:cNvSpPr>
          <p:nvPr>
            <p:ph type="body" sz="quarter" idx="17"/>
          </p:nvPr>
        </p:nvSpPr>
        <p:spPr>
          <a:xfrm>
            <a:off x="8998121" y="3497982"/>
            <a:ext cx="2809875" cy="671294"/>
          </a:xfrm>
        </p:spPr>
        <p:txBody>
          <a:bodyPr>
            <a:normAutofit/>
          </a:bodyPr>
          <a:lstStyle>
            <a:lvl1pPr marL="0" indent="0" algn="ctr">
              <a:buNone/>
              <a:defRPr lang="en-US" sz="2800" kern="1200" dirty="0" smtClean="0">
                <a:solidFill>
                  <a:srgbClr val="00447B"/>
                </a:solidFill>
                <a:latin typeface="Arial" panose="020B0604020202020204" pitchFamily="34" charset="0"/>
                <a:ea typeface="+mn-ea"/>
                <a:cs typeface="Arial" panose="020B0604020202020204" pitchFamily="34" charset="0"/>
              </a:defRPr>
            </a:lvl1pPr>
            <a:lvl2pPr marL="457200" indent="0" algn="l">
              <a:buNone/>
              <a:defRPr/>
            </a:lvl2pPr>
            <a:lvl3pPr marL="914400" indent="0" algn="ctr">
              <a:buNone/>
              <a:defRPr/>
            </a:lvl3pPr>
            <a:lvl4pPr marL="1371600" indent="0" algn="ctr">
              <a:buNone/>
              <a:defRPr/>
            </a:lvl4pPr>
            <a:lvl5pPr marL="1828800" indent="0" algn="ctr">
              <a:buNone/>
              <a:defRPr/>
            </a:lvl5pPr>
          </a:lstStyle>
          <a:p>
            <a:pPr marL="0" lvl="0" indent="0" algn="ctr" defTabSz="914400" rtl="0" eaLnBrk="1" latinLnBrk="0" hangingPunct="1">
              <a:lnSpc>
                <a:spcPct val="90000"/>
              </a:lnSpc>
              <a:spcBef>
                <a:spcPts val="1000"/>
              </a:spcBef>
              <a:buFont typeface="Arial" panose="020B0604020202020204" pitchFamily="34" charset="0"/>
              <a:buNone/>
            </a:pPr>
            <a:r>
              <a:rPr lang="en-US" dirty="0"/>
              <a:t>Edit Master text</a:t>
            </a:r>
          </a:p>
        </p:txBody>
      </p:sp>
      <p:sp>
        <p:nvSpPr>
          <p:cNvPr id="19" name="Text Placeholder 11"/>
          <p:cNvSpPr>
            <a:spLocks noGrp="1"/>
          </p:cNvSpPr>
          <p:nvPr>
            <p:ph type="body" sz="quarter" idx="18"/>
          </p:nvPr>
        </p:nvSpPr>
        <p:spPr>
          <a:xfrm>
            <a:off x="8998121" y="4169177"/>
            <a:ext cx="2809875" cy="1584325"/>
          </a:xfrm>
        </p:spPr>
        <p:txBody>
          <a:bodyPr>
            <a:normAutofit/>
          </a:bodyPr>
          <a:lstStyle>
            <a:lvl1pPr marL="0" indent="0" algn="ctr">
              <a:buNone/>
              <a:defRPr sz="2000"/>
            </a:lvl1pPr>
          </a:lstStyle>
          <a:p>
            <a:pPr lvl="0"/>
            <a:r>
              <a:rPr lang="en-US" dirty="0"/>
              <a:t>Edit Master text styles</a:t>
            </a:r>
          </a:p>
        </p:txBody>
      </p:sp>
      <p:sp>
        <p:nvSpPr>
          <p:cNvPr id="20" name="Footer Placeholder 4"/>
          <p:cNvSpPr>
            <a:spLocks noGrp="1"/>
          </p:cNvSpPr>
          <p:nvPr>
            <p:ph type="ftr" sz="quarter" idx="19"/>
          </p:nvPr>
        </p:nvSpPr>
        <p:spPr>
          <a:xfrm>
            <a:off x="4038600" y="6356350"/>
            <a:ext cx="4114800" cy="365125"/>
          </a:xfrm>
          <a:prstGeom prst="rect">
            <a:avLst/>
          </a:prstGeom>
        </p:spPr>
        <p:txBody>
          <a:bodyPr/>
          <a:lstStyle/>
          <a:p>
            <a:endParaRPr lang="en-US"/>
          </a:p>
        </p:txBody>
      </p:sp>
      <p:sp>
        <p:nvSpPr>
          <p:cNvPr id="21" name="Slide Number Placeholder 5"/>
          <p:cNvSpPr>
            <a:spLocks noGrp="1"/>
          </p:cNvSpPr>
          <p:nvPr>
            <p:ph type="sldNum" sz="quarter" idx="20"/>
          </p:nvPr>
        </p:nvSpPr>
        <p:spPr>
          <a:xfrm>
            <a:off x="8610600" y="6356350"/>
            <a:ext cx="2743200" cy="365125"/>
          </a:xfrm>
          <a:prstGeom prst="rect">
            <a:avLst/>
          </a:prstGeom>
        </p:spPr>
        <p:txBody>
          <a:bodyPr/>
          <a:lstStyle/>
          <a:p>
            <a:fld id="{6780B6AC-FBDE-415B-BDC5-8937C05D3A52}" type="slidenum">
              <a:rPr lang="en-US" smtClean="0"/>
              <a:t>‹#›</a:t>
            </a:fld>
            <a:endParaRPr lang="en-US"/>
          </a:p>
        </p:txBody>
      </p:sp>
      <p:pic>
        <p:nvPicPr>
          <p:cNvPr id="22" name="Picture 21"/>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1142397" y="6177120"/>
            <a:ext cx="838422" cy="483395"/>
          </a:xfrm>
          <a:prstGeom prst="rect">
            <a:avLst/>
          </a:prstGeom>
        </p:spPr>
      </p:pic>
    </p:spTree>
    <p:extLst>
      <p:ext uri="{BB962C8B-B14F-4D97-AF65-F5344CB8AC3E}">
        <p14:creationId xmlns:p14="http://schemas.microsoft.com/office/powerpoint/2010/main" val="39769701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hoto with Tit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val="0"/>
              </a:ext>
            </a:extLst>
          </a:blip>
          <a:srcRect t="15495"/>
          <a:stretch/>
        </p:blipFill>
        <p:spPr>
          <a:xfrm>
            <a:off x="0" y="-10634"/>
            <a:ext cx="12192000" cy="6868633"/>
          </a:xfrm>
          <a:prstGeom prst="rect">
            <a:avLst/>
          </a:prstGeom>
        </p:spPr>
      </p:pic>
      <p:sp>
        <p:nvSpPr>
          <p:cNvPr id="5" name="Picture Placeholder 4"/>
          <p:cNvSpPr>
            <a:spLocks noGrp="1"/>
          </p:cNvSpPr>
          <p:nvPr>
            <p:ph type="pic" sz="quarter" idx="11" hasCustomPrompt="1"/>
          </p:nvPr>
        </p:nvSpPr>
        <p:spPr>
          <a:xfrm>
            <a:off x="-18198" y="0"/>
            <a:ext cx="12192000" cy="6858000"/>
          </a:xfrm>
        </p:spPr>
        <p:txBody>
          <a:bodyPr/>
          <a:lstStyle>
            <a:lvl1pPr>
              <a:defRPr>
                <a:solidFill>
                  <a:schemeClr val="bg1"/>
                </a:solidFill>
              </a:defRPr>
            </a:lvl1pPr>
          </a:lstStyle>
          <a:p>
            <a:r>
              <a:rPr lang="en-US" dirty="0"/>
              <a:t>Click icon to insert photo</a:t>
            </a:r>
          </a:p>
        </p:txBody>
      </p:sp>
      <p:sp>
        <p:nvSpPr>
          <p:cNvPr id="3" name="Date Placeholder 2"/>
          <p:cNvSpPr>
            <a:spLocks noGrp="1"/>
          </p:cNvSpPr>
          <p:nvPr>
            <p:ph type="dt" sz="half" idx="10"/>
          </p:nvPr>
        </p:nvSpPr>
        <p:spPr/>
        <p:txBody>
          <a:bodyPr/>
          <a:lstStyle/>
          <a:p>
            <a:fld id="{C48ADFD3-F854-41F5-BFAE-93B13FD028EA}" type="datetimeFigureOut">
              <a:rPr lang="en-US" smtClean="0"/>
              <a:t>4/2/2026</a:t>
            </a:fld>
            <a:endParaRPr lang="en-US"/>
          </a:p>
        </p:txBody>
      </p:sp>
      <p:sp>
        <p:nvSpPr>
          <p:cNvPr id="2" name="Rectangle 1"/>
          <p:cNvSpPr/>
          <p:nvPr userDrawn="1"/>
        </p:nvSpPr>
        <p:spPr>
          <a:xfrm>
            <a:off x="0" y="383721"/>
            <a:ext cx="10039546" cy="1347108"/>
          </a:xfrm>
          <a:prstGeom prst="rect">
            <a:avLst/>
          </a:prstGeom>
          <a:gradFill>
            <a:gsLst>
              <a:gs pos="0">
                <a:schemeClr val="tx1">
                  <a:alpha val="0"/>
                </a:schemeClr>
              </a:gs>
              <a:gs pos="100000">
                <a:schemeClr val="tx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8"/>
          <p:cNvSpPr>
            <a:spLocks noGrp="1"/>
          </p:cNvSpPr>
          <p:nvPr>
            <p:ph type="body" sz="quarter" idx="12" hasCustomPrompt="1"/>
          </p:nvPr>
        </p:nvSpPr>
        <p:spPr>
          <a:xfrm>
            <a:off x="509588" y="584200"/>
            <a:ext cx="8332787" cy="933450"/>
          </a:xfrm>
        </p:spPr>
        <p:txBody>
          <a:bodyPr anchor="ctr">
            <a:normAutofit/>
          </a:bodyPr>
          <a:lstStyle>
            <a:lvl1pPr marL="0" indent="0">
              <a:buNone/>
              <a:defRPr sz="4000">
                <a:solidFill>
                  <a:schemeClr val="bg1"/>
                </a:solidFill>
              </a:defRPr>
            </a:lvl1pPr>
          </a:lstStyle>
          <a:p>
            <a:pPr lvl="0"/>
            <a:r>
              <a:rPr lang="en-US" dirty="0"/>
              <a:t>Insert title</a:t>
            </a:r>
          </a:p>
        </p:txBody>
      </p:sp>
    </p:spTree>
    <p:extLst>
      <p:ext uri="{BB962C8B-B14F-4D97-AF65-F5344CB8AC3E}">
        <p14:creationId xmlns:p14="http://schemas.microsoft.com/office/powerpoint/2010/main" val="34383092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ull photo Break slid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t="13020" r="112" b="12981"/>
          <a:stretch/>
        </p:blipFill>
        <p:spPr>
          <a:xfrm>
            <a:off x="-13647" y="-13648"/>
            <a:ext cx="12201098" cy="6892120"/>
          </a:xfrm>
          <a:prstGeom prst="rect">
            <a:avLst/>
          </a:prstGeom>
        </p:spPr>
      </p:pic>
      <p:sp>
        <p:nvSpPr>
          <p:cNvPr id="3" name="Date Placeholder 2"/>
          <p:cNvSpPr>
            <a:spLocks noGrp="1"/>
          </p:cNvSpPr>
          <p:nvPr>
            <p:ph type="dt" sz="half" idx="10"/>
          </p:nvPr>
        </p:nvSpPr>
        <p:spPr/>
        <p:txBody>
          <a:bodyPr/>
          <a:lstStyle/>
          <a:p>
            <a:fld id="{C48ADFD3-F854-41F5-BFAE-93B13FD028EA}" type="datetimeFigureOut">
              <a:rPr lang="en-US" smtClean="0"/>
              <a:t>4/2/2026</a:t>
            </a:fld>
            <a:endParaRPr lang="en-US"/>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516661" y="5737983"/>
            <a:ext cx="1170043" cy="674592"/>
          </a:xfrm>
          <a:prstGeom prst="rect">
            <a:avLst/>
          </a:prstGeom>
        </p:spPr>
      </p:pic>
      <p:sp>
        <p:nvSpPr>
          <p:cNvPr id="6" name="Picture Placeholder 5"/>
          <p:cNvSpPr>
            <a:spLocks noGrp="1"/>
          </p:cNvSpPr>
          <p:nvPr>
            <p:ph type="pic" sz="quarter" idx="12" hasCustomPrompt="1"/>
          </p:nvPr>
        </p:nvSpPr>
        <p:spPr>
          <a:xfrm>
            <a:off x="0" y="20472"/>
            <a:ext cx="12192000" cy="6858000"/>
          </a:xfrm>
        </p:spPr>
        <p:txBody>
          <a:bodyPr/>
          <a:lstStyle>
            <a:lvl1pPr marL="0" indent="0">
              <a:buNone/>
              <a:defRPr>
                <a:solidFill>
                  <a:schemeClr val="bg1"/>
                </a:solidFill>
              </a:defRPr>
            </a:lvl1pPr>
          </a:lstStyle>
          <a:p>
            <a:r>
              <a:rPr lang="en-US" dirty="0"/>
              <a:t>Click Icon to insert picture</a:t>
            </a:r>
          </a:p>
        </p:txBody>
      </p:sp>
      <p:sp>
        <p:nvSpPr>
          <p:cNvPr id="8" name="Rectangle 7"/>
          <p:cNvSpPr/>
          <p:nvPr userDrawn="1"/>
        </p:nvSpPr>
        <p:spPr>
          <a:xfrm>
            <a:off x="-13648" y="1571075"/>
            <a:ext cx="10463933" cy="1347108"/>
          </a:xfrm>
          <a:prstGeom prst="rect">
            <a:avLst/>
          </a:prstGeom>
          <a:gradFill>
            <a:gsLst>
              <a:gs pos="0">
                <a:schemeClr val="tx1">
                  <a:alpha val="0"/>
                </a:schemeClr>
              </a:gs>
              <a:gs pos="100000">
                <a:schemeClr val="tx1">
                  <a:alpha val="86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p:cNvSpPr>
            <a:spLocks noGrp="1"/>
          </p:cNvSpPr>
          <p:nvPr>
            <p:ph type="body" sz="quarter" idx="11" hasCustomPrompt="1"/>
          </p:nvPr>
        </p:nvSpPr>
        <p:spPr>
          <a:xfrm>
            <a:off x="838200" y="1719167"/>
            <a:ext cx="9053512" cy="1050925"/>
          </a:xfrm>
        </p:spPr>
        <p:txBody>
          <a:bodyPr anchor="ctr">
            <a:normAutofit/>
          </a:bodyPr>
          <a:lstStyle>
            <a:lvl1pPr marL="0" indent="0">
              <a:buNone/>
              <a:defRPr sz="6000" b="0">
                <a:solidFill>
                  <a:schemeClr val="bg1"/>
                </a:solidFill>
                <a:latin typeface="Corbel" panose="020B0503020204020204" pitchFamily="34" charset="0"/>
              </a:defRPr>
            </a:lvl1pPr>
          </a:lstStyle>
          <a:p>
            <a:pPr lvl="0"/>
            <a:r>
              <a:rPr lang="en-US" dirty="0"/>
              <a:t>Break</a:t>
            </a:r>
          </a:p>
        </p:txBody>
      </p:sp>
    </p:spTree>
    <p:extLst>
      <p:ext uri="{BB962C8B-B14F-4D97-AF65-F5344CB8AC3E}">
        <p14:creationId xmlns:p14="http://schemas.microsoft.com/office/powerpoint/2010/main" val="15121535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77636" y="365125"/>
            <a:ext cx="10676164" cy="1014867"/>
          </a:xfrm>
          <a:prstGeom prst="rect">
            <a:avLst/>
          </a:prstGeom>
        </p:spPr>
        <p:txBody>
          <a:bodyPr/>
          <a:lstStyle/>
          <a:p>
            <a:r>
              <a:rPr lang="en-US" dirty="0"/>
              <a:t>Click to edit Master title style</a:t>
            </a:r>
          </a:p>
        </p:txBody>
      </p:sp>
      <p:sp>
        <p:nvSpPr>
          <p:cNvPr id="3" name="Content Placeholder 2"/>
          <p:cNvSpPr>
            <a:spLocks noGrp="1"/>
          </p:cNvSpPr>
          <p:nvPr>
            <p:ph idx="1"/>
          </p:nvPr>
        </p:nvSpPr>
        <p:spPr>
          <a:xfrm>
            <a:off x="677636" y="1559379"/>
            <a:ext cx="10676164" cy="4617584"/>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48ADFD3-F854-41F5-BFAE-93B13FD028EA}" type="datetimeFigureOut">
              <a:rPr lang="en-US" smtClean="0"/>
              <a:t>4/2/2026</a:t>
            </a:fld>
            <a:endParaRPr lang="en-US" dirty="0"/>
          </a:p>
        </p:txBody>
      </p:sp>
      <p:sp>
        <p:nvSpPr>
          <p:cNvPr id="5" name="Footer Placeholder 4"/>
          <p:cNvSpPr>
            <a:spLocks noGrp="1"/>
          </p:cNvSpPr>
          <p:nvPr>
            <p:ph type="ftr" sz="quarter" idx="11"/>
          </p:nvPr>
        </p:nvSpPr>
        <p:spPr>
          <a:xfrm>
            <a:off x="4038600" y="6356350"/>
            <a:ext cx="4114800" cy="365125"/>
          </a:xfrm>
          <a:prstGeom prst="rect">
            <a:avLst/>
          </a:prstGeom>
        </p:spPr>
        <p:txBody>
          <a:bodyPr anchor="ctr"/>
          <a:lstStyle>
            <a:lvl1pPr>
              <a:defRPr lang="en-US" sz="1200" kern="1200" dirty="0">
                <a:solidFill>
                  <a:schemeClr val="tx1">
                    <a:tint val="75000"/>
                  </a:schemeClr>
                </a:solidFill>
                <a:latin typeface="+mn-lt"/>
                <a:ea typeface="+mn-ea"/>
                <a:cs typeface="+mn-cs"/>
              </a:defRPr>
            </a:lvl1pPr>
          </a:lstStyle>
          <a:p>
            <a:endParaRPr lang="en-US" dirty="0"/>
          </a:p>
        </p:txBody>
      </p:sp>
      <p:sp>
        <p:nvSpPr>
          <p:cNvPr id="6" name="Slide Number Placeholder 5"/>
          <p:cNvSpPr>
            <a:spLocks noGrp="1"/>
          </p:cNvSpPr>
          <p:nvPr>
            <p:ph type="sldNum" sz="quarter" idx="12"/>
          </p:nvPr>
        </p:nvSpPr>
        <p:spPr>
          <a:xfrm>
            <a:off x="8610600" y="6356350"/>
            <a:ext cx="2743200" cy="365125"/>
          </a:xfrm>
          <a:prstGeom prst="rect">
            <a:avLst/>
          </a:prstGeom>
        </p:spPr>
        <p:txBody>
          <a:bodyPr anchor="ctr"/>
          <a:lstStyle>
            <a:lvl1pPr>
              <a:defRPr lang="en-US" sz="1200" kern="1200" smtClean="0">
                <a:solidFill>
                  <a:schemeClr val="tx1">
                    <a:tint val="75000"/>
                  </a:schemeClr>
                </a:solidFill>
                <a:latin typeface="+mn-lt"/>
                <a:ea typeface="+mn-ea"/>
                <a:cs typeface="+mn-cs"/>
              </a:defRPr>
            </a:lvl1pPr>
          </a:lstStyle>
          <a:p>
            <a:fld id="{6780B6AC-FBDE-415B-BDC5-8937C05D3A52}" type="slidenum">
              <a:rPr lang="en-US" smtClean="0"/>
              <a:pPr/>
              <a:t>‹#›</a:t>
            </a:fld>
            <a:endParaRPr lang="en-US"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1152557" y="6187280"/>
            <a:ext cx="838422" cy="483395"/>
          </a:xfrm>
          <a:prstGeom prst="rect">
            <a:avLst/>
          </a:prstGeom>
        </p:spPr>
      </p:pic>
    </p:spTree>
    <p:extLst>
      <p:ext uri="{BB962C8B-B14F-4D97-AF65-F5344CB8AC3E}">
        <p14:creationId xmlns:p14="http://schemas.microsoft.com/office/powerpoint/2010/main" val="43259226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hart with right Panel">
    <p:spTree>
      <p:nvGrpSpPr>
        <p:cNvPr id="1" name=""/>
        <p:cNvGrpSpPr/>
        <p:nvPr/>
      </p:nvGrpSpPr>
      <p:grpSpPr>
        <a:xfrm>
          <a:off x="0" y="0"/>
          <a:ext cx="0" cy="0"/>
          <a:chOff x="0" y="0"/>
          <a:chExt cx="0" cy="0"/>
        </a:xfrm>
      </p:grpSpPr>
      <p:sp>
        <p:nvSpPr>
          <p:cNvPr id="4" name="Rectangle 3"/>
          <p:cNvSpPr/>
          <p:nvPr userDrawn="1"/>
        </p:nvSpPr>
        <p:spPr>
          <a:xfrm>
            <a:off x="8063346" y="0"/>
            <a:ext cx="4128654" cy="6858000"/>
          </a:xfrm>
          <a:prstGeom prst="rect">
            <a:avLst/>
          </a:prstGeom>
          <a:solidFill>
            <a:schemeClr val="tx2"/>
          </a:solidFill>
          <a:ln>
            <a:noFill/>
          </a:ln>
          <a:effectLst>
            <a:innerShdw blurRad="114300" dist="88900" dir="108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0"/>
          <p:cNvSpPr>
            <a:spLocks noGrp="1"/>
          </p:cNvSpPr>
          <p:nvPr>
            <p:ph type="body" sz="quarter" idx="12" hasCustomPrompt="1"/>
          </p:nvPr>
        </p:nvSpPr>
        <p:spPr>
          <a:xfrm>
            <a:off x="112713" y="226243"/>
            <a:ext cx="7950200" cy="877070"/>
          </a:xfrm>
        </p:spPr>
        <p:txBody>
          <a:bodyPr>
            <a:normAutofit/>
          </a:bodyPr>
          <a:lstStyle>
            <a:lvl1pPr marL="0" indent="0">
              <a:buNone/>
              <a:defRPr sz="4000">
                <a:solidFill>
                  <a:srgbClr val="00447B"/>
                </a:solidFill>
              </a:defRPr>
            </a:lvl1pPr>
          </a:lstStyle>
          <a:p>
            <a:pPr lvl="0"/>
            <a:r>
              <a:rPr lang="en-US" dirty="0"/>
              <a:t>Click to add Chart Title</a:t>
            </a:r>
          </a:p>
        </p:txBody>
      </p:sp>
      <p:sp>
        <p:nvSpPr>
          <p:cNvPr id="13" name="Text Placeholder 12"/>
          <p:cNvSpPr>
            <a:spLocks noGrp="1"/>
          </p:cNvSpPr>
          <p:nvPr>
            <p:ph type="body" sz="quarter" idx="13" hasCustomPrompt="1"/>
          </p:nvPr>
        </p:nvSpPr>
        <p:spPr>
          <a:xfrm>
            <a:off x="8351838" y="1103314"/>
            <a:ext cx="3695700" cy="537328"/>
          </a:xfrm>
        </p:spPr>
        <p:txBody>
          <a:bodyPr/>
          <a:lstStyle>
            <a:lvl1pPr marL="0" indent="0">
              <a:buNone/>
              <a:defRPr>
                <a:solidFill>
                  <a:srgbClr val="99BCE4"/>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Subtitle</a:t>
            </a:r>
          </a:p>
        </p:txBody>
      </p:sp>
      <p:sp>
        <p:nvSpPr>
          <p:cNvPr id="14" name="Text Placeholder 12"/>
          <p:cNvSpPr>
            <a:spLocks noGrp="1"/>
          </p:cNvSpPr>
          <p:nvPr>
            <p:ph type="body" sz="quarter" idx="14" hasCustomPrompt="1"/>
          </p:nvPr>
        </p:nvSpPr>
        <p:spPr>
          <a:xfrm>
            <a:off x="8351838" y="1640642"/>
            <a:ext cx="3695700" cy="5080834"/>
          </a:xfrm>
        </p:spPr>
        <p:txBody>
          <a:bodyPr>
            <a:norm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Description</a:t>
            </a:r>
          </a:p>
        </p:txBody>
      </p:sp>
      <p:sp>
        <p:nvSpPr>
          <p:cNvPr id="9" name="Chart Placeholder 8"/>
          <p:cNvSpPr>
            <a:spLocks noGrp="1"/>
          </p:cNvSpPr>
          <p:nvPr>
            <p:ph type="chart" sz="quarter" idx="11" hasCustomPrompt="1"/>
          </p:nvPr>
        </p:nvSpPr>
        <p:spPr>
          <a:xfrm>
            <a:off x="0" y="1103313"/>
            <a:ext cx="8062913" cy="5754687"/>
          </a:xfrm>
        </p:spPr>
        <p:txBody>
          <a:bodyPr/>
          <a:lstStyle>
            <a:lvl1pPr>
              <a:defRPr/>
            </a:lvl1pPr>
          </a:lstStyle>
          <a:p>
            <a:r>
              <a:rPr lang="en-US" dirty="0"/>
              <a:t>Click icon to insert chart</a:t>
            </a:r>
          </a:p>
        </p:txBody>
      </p:sp>
    </p:spTree>
    <p:extLst>
      <p:ext uri="{BB962C8B-B14F-4D97-AF65-F5344CB8AC3E}">
        <p14:creationId xmlns:p14="http://schemas.microsoft.com/office/powerpoint/2010/main" val="30397206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hart with bottom Panel">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C48ADFD3-F854-41F5-BFAE-93B13FD028EA}" type="datetimeFigureOut">
              <a:rPr lang="en-US" smtClean="0"/>
              <a:t>4/2/2026</a:t>
            </a:fld>
            <a:endParaRPr lang="en-US"/>
          </a:p>
        </p:txBody>
      </p:sp>
      <p:sp>
        <p:nvSpPr>
          <p:cNvPr id="4" name="Rectangle 3"/>
          <p:cNvSpPr/>
          <p:nvPr userDrawn="1"/>
        </p:nvSpPr>
        <p:spPr>
          <a:xfrm rot="5400000">
            <a:off x="5240517" y="-93483"/>
            <a:ext cx="1710965" cy="12192000"/>
          </a:xfrm>
          <a:prstGeom prst="rect">
            <a:avLst/>
          </a:prstGeom>
          <a:solidFill>
            <a:schemeClr val="tx2"/>
          </a:solidFill>
          <a:ln>
            <a:noFill/>
          </a:ln>
          <a:effectLst>
            <a:innerShdw blurRad="114300" dist="88900" dir="108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Chart Placeholder 8"/>
          <p:cNvSpPr>
            <a:spLocks noGrp="1"/>
          </p:cNvSpPr>
          <p:nvPr>
            <p:ph type="chart" sz="quarter" idx="11" hasCustomPrompt="1"/>
          </p:nvPr>
        </p:nvSpPr>
        <p:spPr>
          <a:xfrm>
            <a:off x="273376" y="1103314"/>
            <a:ext cx="11431725" cy="3907196"/>
          </a:xfrm>
        </p:spPr>
        <p:txBody>
          <a:bodyPr/>
          <a:lstStyle>
            <a:lvl1pPr>
              <a:defRPr/>
            </a:lvl1pPr>
          </a:lstStyle>
          <a:p>
            <a:r>
              <a:rPr lang="en-US" dirty="0"/>
              <a:t>Click icon to insert chart</a:t>
            </a:r>
          </a:p>
        </p:txBody>
      </p:sp>
      <p:sp>
        <p:nvSpPr>
          <p:cNvPr id="11" name="Text Placeholder 10"/>
          <p:cNvSpPr>
            <a:spLocks noGrp="1"/>
          </p:cNvSpPr>
          <p:nvPr>
            <p:ph type="body" sz="quarter" idx="12" hasCustomPrompt="1"/>
          </p:nvPr>
        </p:nvSpPr>
        <p:spPr>
          <a:xfrm>
            <a:off x="273376" y="226243"/>
            <a:ext cx="11431725" cy="877070"/>
          </a:xfrm>
        </p:spPr>
        <p:txBody>
          <a:bodyPr>
            <a:normAutofit/>
          </a:bodyPr>
          <a:lstStyle>
            <a:lvl1pPr marL="0" indent="0">
              <a:buNone/>
              <a:defRPr sz="4000">
                <a:solidFill>
                  <a:srgbClr val="00447B"/>
                </a:solidFill>
              </a:defRPr>
            </a:lvl1pPr>
          </a:lstStyle>
          <a:p>
            <a:pPr lvl="0"/>
            <a:r>
              <a:rPr lang="en-US" dirty="0"/>
              <a:t>Click to add Chart Title</a:t>
            </a:r>
          </a:p>
        </p:txBody>
      </p:sp>
      <p:sp>
        <p:nvSpPr>
          <p:cNvPr id="7" name="Text Placeholder 12"/>
          <p:cNvSpPr>
            <a:spLocks noGrp="1"/>
          </p:cNvSpPr>
          <p:nvPr>
            <p:ph type="body" sz="quarter" idx="13" hasCustomPrompt="1"/>
          </p:nvPr>
        </p:nvSpPr>
        <p:spPr>
          <a:xfrm>
            <a:off x="273376" y="5283559"/>
            <a:ext cx="11431724" cy="400803"/>
          </a:xfrm>
        </p:spPr>
        <p:txBody>
          <a:bodyPr/>
          <a:lstStyle>
            <a:lvl1pPr marL="0" indent="0">
              <a:buNone/>
              <a:defRPr>
                <a:solidFill>
                  <a:srgbClr val="99BCE4"/>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Subtitle</a:t>
            </a:r>
          </a:p>
        </p:txBody>
      </p:sp>
      <p:sp>
        <p:nvSpPr>
          <p:cNvPr id="8" name="Text Placeholder 12"/>
          <p:cNvSpPr>
            <a:spLocks noGrp="1"/>
          </p:cNvSpPr>
          <p:nvPr>
            <p:ph type="body" sz="quarter" idx="14" hasCustomPrompt="1"/>
          </p:nvPr>
        </p:nvSpPr>
        <p:spPr>
          <a:xfrm>
            <a:off x="273375" y="5684362"/>
            <a:ext cx="11431725" cy="1037113"/>
          </a:xfrm>
        </p:spPr>
        <p:txBody>
          <a:bodyPr>
            <a:norm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Description</a:t>
            </a:r>
          </a:p>
        </p:txBody>
      </p:sp>
    </p:spTree>
    <p:extLst>
      <p:ext uri="{BB962C8B-B14F-4D97-AF65-F5344CB8AC3E}">
        <p14:creationId xmlns:p14="http://schemas.microsoft.com/office/powerpoint/2010/main" val="210449634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48ADFD3-F854-41F5-BFAE-93B13FD028EA}" type="datetimeFigureOut">
              <a:rPr lang="en-US" smtClean="0"/>
              <a:t>4/2/2026</a:t>
            </a:fld>
            <a:endParaRPr lang="en-US"/>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6780B6AC-FBDE-415B-BDC5-8937C05D3A52}" type="slidenum">
              <a:rPr lang="en-US" smtClean="0"/>
              <a:t>‹#›</a:t>
            </a:fld>
            <a:endParaRPr lang="en-US"/>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1091597" y="6146640"/>
            <a:ext cx="838422" cy="483395"/>
          </a:xfrm>
          <a:prstGeom prst="rect">
            <a:avLst/>
          </a:prstGeom>
        </p:spPr>
      </p:pic>
    </p:spTree>
    <p:extLst>
      <p:ext uri="{BB962C8B-B14F-4D97-AF65-F5344CB8AC3E}">
        <p14:creationId xmlns:p14="http://schemas.microsoft.com/office/powerpoint/2010/main" val="216263124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Video with Background imag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val="0"/>
              </a:ext>
            </a:extLst>
          </a:blip>
          <a:srcRect t="12351" b="12276"/>
          <a:stretch/>
        </p:blipFill>
        <p:spPr>
          <a:xfrm>
            <a:off x="-1" y="-13648"/>
            <a:ext cx="12191999" cy="6892120"/>
          </a:xfrm>
          <a:prstGeom prst="rect">
            <a:avLst/>
          </a:prstGeom>
        </p:spPr>
      </p:pic>
      <p:sp>
        <p:nvSpPr>
          <p:cNvPr id="5" name="Media Placeholder 4"/>
          <p:cNvSpPr>
            <a:spLocks noGrp="1"/>
          </p:cNvSpPr>
          <p:nvPr>
            <p:ph type="media" sz="quarter" idx="11"/>
          </p:nvPr>
        </p:nvSpPr>
        <p:spPr>
          <a:xfrm>
            <a:off x="3166281" y="955343"/>
            <a:ext cx="5773003" cy="3616657"/>
          </a:xfrm>
        </p:spPr>
        <p:txBody>
          <a:bodyPr anchor="t">
            <a:normAutofit/>
          </a:bodyPr>
          <a:lstStyle>
            <a:lvl1pPr marL="0" indent="0" algn="ctr">
              <a:buNone/>
              <a:defRPr sz="4800" baseline="0">
                <a:solidFill>
                  <a:srgbClr val="00447B"/>
                </a:solidFill>
              </a:defRPr>
            </a:lvl1pPr>
          </a:lstStyle>
          <a:p>
            <a:endParaRPr lang="en-US" dirty="0"/>
          </a:p>
          <a:p>
            <a:endParaRPr lang="en-US" dirty="0"/>
          </a:p>
        </p:txBody>
      </p:sp>
    </p:spTree>
    <p:extLst>
      <p:ext uri="{BB962C8B-B14F-4D97-AF65-F5344CB8AC3E}">
        <p14:creationId xmlns:p14="http://schemas.microsoft.com/office/powerpoint/2010/main" val="17921339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ull Bleed Video">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1081437" y="6238080"/>
            <a:ext cx="838422" cy="483395"/>
          </a:xfrm>
          <a:prstGeom prst="rect">
            <a:avLst/>
          </a:prstGeom>
        </p:spPr>
      </p:pic>
      <p:pic>
        <p:nvPicPr>
          <p:cNvPr id="6" name="Picture 5"/>
          <p:cNvPicPr>
            <a:picLocks noChangeAspect="1"/>
          </p:cNvPicPr>
          <p:nvPr userDrawn="1"/>
        </p:nvPicPr>
        <p:blipFill>
          <a:blip r:embed="rId3"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400889" y="964500"/>
            <a:ext cx="7390222" cy="4926815"/>
          </a:xfrm>
          <a:prstGeom prst="rect">
            <a:avLst/>
          </a:prstGeom>
        </p:spPr>
      </p:pic>
      <p:sp>
        <p:nvSpPr>
          <p:cNvPr id="7" name="Oval 6"/>
          <p:cNvSpPr/>
          <p:nvPr userDrawn="1"/>
        </p:nvSpPr>
        <p:spPr>
          <a:xfrm>
            <a:off x="5709501" y="2994058"/>
            <a:ext cx="772997" cy="772997"/>
          </a:xfrm>
          <a:prstGeom prst="ellipse">
            <a:avLst/>
          </a:prstGeom>
          <a:solidFill>
            <a:schemeClr val="accent2">
              <a:lumMod val="75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Media Placeholder 4"/>
          <p:cNvSpPr>
            <a:spLocks noGrp="1"/>
          </p:cNvSpPr>
          <p:nvPr>
            <p:ph type="media" sz="quarter" idx="11"/>
          </p:nvPr>
        </p:nvSpPr>
        <p:spPr>
          <a:xfrm>
            <a:off x="-1" y="0"/>
            <a:ext cx="12191999" cy="6857999"/>
          </a:xfrm>
        </p:spPr>
        <p:txBody>
          <a:bodyPr anchor="t">
            <a:normAutofit/>
          </a:bodyPr>
          <a:lstStyle>
            <a:lvl1pPr marL="0" indent="0" algn="ctr">
              <a:buNone/>
              <a:defRPr sz="4800" baseline="0">
                <a:solidFill>
                  <a:srgbClr val="00447B"/>
                </a:solidFill>
              </a:defRPr>
            </a:lvl1pPr>
          </a:lstStyle>
          <a:p>
            <a:endParaRPr lang="en-US" dirty="0"/>
          </a:p>
          <a:p>
            <a:endParaRPr lang="en-US" dirty="0"/>
          </a:p>
        </p:txBody>
      </p:sp>
    </p:spTree>
    <p:extLst>
      <p:ext uri="{BB962C8B-B14F-4D97-AF65-F5344CB8AC3E}">
        <p14:creationId xmlns:p14="http://schemas.microsoft.com/office/powerpoint/2010/main" val="257140261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hank You/Contact">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r="11700" b="11496"/>
          <a:stretch/>
        </p:blipFill>
        <p:spPr>
          <a:xfrm>
            <a:off x="0" y="-7221"/>
            <a:ext cx="12195544" cy="6875854"/>
          </a:xfrm>
          <a:prstGeom prst="rect">
            <a:avLst/>
          </a:prstGeom>
        </p:spPr>
      </p:pic>
      <p:sp>
        <p:nvSpPr>
          <p:cNvPr id="3" name="Date Placeholder 2"/>
          <p:cNvSpPr>
            <a:spLocks noGrp="1"/>
          </p:cNvSpPr>
          <p:nvPr>
            <p:ph type="dt" sz="half" idx="10"/>
          </p:nvPr>
        </p:nvSpPr>
        <p:spPr/>
        <p:txBody>
          <a:bodyPr/>
          <a:lstStyle/>
          <a:p>
            <a:fld id="{C48ADFD3-F854-41F5-BFAE-93B13FD028EA}" type="datetimeFigureOut">
              <a:rPr lang="en-US" smtClean="0"/>
              <a:t>4/2/2026</a:t>
            </a:fld>
            <a:endParaRPr lang="en-US"/>
          </a:p>
        </p:txBody>
      </p:sp>
      <p:sp>
        <p:nvSpPr>
          <p:cNvPr id="11" name="Text Placeholder 10"/>
          <p:cNvSpPr>
            <a:spLocks noGrp="1"/>
          </p:cNvSpPr>
          <p:nvPr>
            <p:ph type="body" sz="quarter" idx="11" hasCustomPrompt="1"/>
          </p:nvPr>
        </p:nvSpPr>
        <p:spPr>
          <a:xfrm>
            <a:off x="576263" y="795694"/>
            <a:ext cx="5988050" cy="987425"/>
          </a:xfrm>
        </p:spPr>
        <p:txBody>
          <a:bodyPr anchor="b">
            <a:noAutofit/>
          </a:bodyPr>
          <a:lstStyle>
            <a:lvl1pPr marL="0" indent="0">
              <a:buNone/>
              <a:defRPr sz="6600">
                <a:solidFill>
                  <a:srgbClr val="00447B"/>
                </a:solidFill>
              </a:defRPr>
            </a:lvl1pPr>
          </a:lstStyle>
          <a:p>
            <a:pPr lvl="0"/>
            <a:r>
              <a:rPr lang="en-US" dirty="0"/>
              <a:t>Thank you!</a:t>
            </a:r>
          </a:p>
        </p:txBody>
      </p:sp>
      <p:sp>
        <p:nvSpPr>
          <p:cNvPr id="7" name="Text Placeholder 6"/>
          <p:cNvSpPr>
            <a:spLocks noGrp="1"/>
          </p:cNvSpPr>
          <p:nvPr>
            <p:ph type="body" sz="quarter" idx="12" hasCustomPrompt="1"/>
          </p:nvPr>
        </p:nvSpPr>
        <p:spPr>
          <a:xfrm>
            <a:off x="576263" y="2049463"/>
            <a:ext cx="4338637" cy="4306887"/>
          </a:xfrm>
        </p:spPr>
        <p:txBody>
          <a:bodyPr>
            <a:normAutofit/>
          </a:bodyPr>
          <a:lstStyle>
            <a:lvl1pPr marL="0" indent="0">
              <a:buNone/>
              <a:defRPr sz="2000" baseline="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ontact Information</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623279" y="5411229"/>
            <a:ext cx="1274166" cy="734624"/>
          </a:xfrm>
          <a:prstGeom prst="rect">
            <a:avLst/>
          </a:prstGeom>
        </p:spPr>
      </p:pic>
    </p:spTree>
    <p:extLst>
      <p:ext uri="{BB962C8B-B14F-4D97-AF65-F5344CB8AC3E}">
        <p14:creationId xmlns:p14="http://schemas.microsoft.com/office/powerpoint/2010/main" val="4640246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Date Placeholder 2"/>
          <p:cNvSpPr>
            <a:spLocks noGrp="1"/>
          </p:cNvSpPr>
          <p:nvPr>
            <p:ph type="dt" sz="half" idx="10"/>
          </p:nvPr>
        </p:nvSpPr>
        <p:spPr/>
        <p:txBody>
          <a:bodyPr/>
          <a:lstStyle/>
          <a:p>
            <a:fld id="{C48ADFD3-F854-41F5-BFAE-93B13FD028EA}" type="datetimeFigureOut">
              <a:rPr lang="en-US" smtClean="0"/>
              <a:t>4/2/2026</a:t>
            </a:fld>
            <a:endParaRPr lang="en-US"/>
          </a:p>
        </p:txBody>
      </p:sp>
      <p:sp>
        <p:nvSpPr>
          <p:cNvPr id="10"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11" name="Slide Number Placeholder 5"/>
          <p:cNvSpPr>
            <a:spLocks noGrp="1"/>
          </p:cNvSpPr>
          <p:nvPr>
            <p:ph type="sldNum" sz="quarter" idx="12"/>
          </p:nvPr>
        </p:nvSpPr>
        <p:spPr>
          <a:xfrm>
            <a:off x="8610600" y="6356350"/>
            <a:ext cx="2743200" cy="365125"/>
          </a:xfrm>
          <a:prstGeom prst="rect">
            <a:avLst/>
          </a:prstGeom>
        </p:spPr>
        <p:txBody>
          <a:bodyPr/>
          <a:lstStyle/>
          <a:p>
            <a:fld id="{6780B6AC-FBDE-415B-BDC5-8937C05D3A52}" type="slidenum">
              <a:rPr lang="en-US" smtClean="0"/>
              <a:t>‹#›</a:t>
            </a:fld>
            <a:endParaRPr lang="en-US"/>
          </a:p>
        </p:txBody>
      </p:sp>
      <p:sp>
        <p:nvSpPr>
          <p:cNvPr id="12" name="Title 1"/>
          <p:cNvSpPr>
            <a:spLocks noGrp="1"/>
          </p:cNvSpPr>
          <p:nvPr>
            <p:ph type="title" hasCustomPrompt="1"/>
          </p:nvPr>
        </p:nvSpPr>
        <p:spPr>
          <a:xfrm>
            <a:off x="677636" y="282707"/>
            <a:ext cx="7661722" cy="1131227"/>
          </a:xfrm>
          <a:prstGeom prst="rect">
            <a:avLst/>
          </a:prstGeom>
        </p:spPr>
        <p:txBody>
          <a:bodyPr anchor="b">
            <a:normAutofit/>
          </a:bodyPr>
          <a:lstStyle>
            <a:lvl1pPr algn="l">
              <a:defRPr sz="4400">
                <a:solidFill>
                  <a:schemeClr val="tx2"/>
                </a:solidFill>
              </a:defRPr>
            </a:lvl1pPr>
          </a:lstStyle>
          <a:p>
            <a:r>
              <a:rPr lang="en-US" dirty="0"/>
              <a:t>Meeting Agenda</a:t>
            </a:r>
          </a:p>
        </p:txBody>
      </p:sp>
      <p:sp>
        <p:nvSpPr>
          <p:cNvPr id="13" name="Text Placeholder 12"/>
          <p:cNvSpPr>
            <a:spLocks noGrp="1"/>
          </p:cNvSpPr>
          <p:nvPr>
            <p:ph type="body" sz="quarter" idx="13"/>
          </p:nvPr>
        </p:nvSpPr>
        <p:spPr>
          <a:xfrm>
            <a:off x="677636" y="1696641"/>
            <a:ext cx="9897533" cy="4181475"/>
          </a:xfrm>
        </p:spPr>
        <p:txBody>
          <a:bodyPr/>
          <a:lstStyle>
            <a:lvl1pPr marL="514350" indent="-514350">
              <a:lnSpc>
                <a:spcPct val="150000"/>
              </a:lnSpc>
              <a:buFont typeface="+mj-lt"/>
              <a:buAutoNum type="romanUcPeriod"/>
              <a:defRPr sz="3600"/>
            </a:lvl1pPr>
            <a:lvl2pPr marL="457200" indent="0">
              <a:lnSpc>
                <a:spcPct val="150000"/>
              </a:lnSpc>
              <a:buFontTx/>
              <a:buNone/>
              <a:defRPr/>
            </a:lvl2pPr>
            <a:lvl3pPr marL="1371600" indent="-457200">
              <a:buFont typeface="+mj-lt"/>
              <a:buAutoNum type="romanUcPeriod"/>
              <a:defRPr/>
            </a:lvl3pPr>
            <a:lvl4pPr marL="1714500" indent="-342900">
              <a:buFont typeface="+mj-lt"/>
              <a:buAutoNum type="romanUcPeriod"/>
              <a:defRPr/>
            </a:lvl4pPr>
            <a:lvl5pPr marL="2171700" indent="-342900">
              <a:buFont typeface="+mj-lt"/>
              <a:buAutoNum type="romanUcPeriod"/>
              <a:defRPr/>
            </a:lvl5pPr>
          </a:lstStyle>
          <a:p>
            <a:pPr lvl="0"/>
            <a:endParaRPr lang="en-US" dirty="0"/>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1142397" y="6177120"/>
            <a:ext cx="838422" cy="483395"/>
          </a:xfrm>
          <a:prstGeom prst="rect">
            <a:avLst/>
          </a:prstGeom>
        </p:spPr>
      </p:pic>
    </p:spTree>
    <p:extLst>
      <p:ext uri="{BB962C8B-B14F-4D97-AF65-F5344CB8AC3E}">
        <p14:creationId xmlns:p14="http://schemas.microsoft.com/office/powerpoint/2010/main" val="29637849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hasCustomPrompt="1"/>
          </p:nvPr>
        </p:nvSpPr>
        <p:spPr>
          <a:xfrm>
            <a:off x="2876554" y="477440"/>
            <a:ext cx="5894301" cy="2852737"/>
          </a:xfrm>
          <a:prstGeom prst="rect">
            <a:avLst/>
          </a:prstGeom>
        </p:spPr>
        <p:txBody>
          <a:bodyPr anchor="b">
            <a:normAutofit/>
          </a:bodyPr>
          <a:lstStyle>
            <a:lvl1pPr algn="ctr">
              <a:defRPr sz="4400">
                <a:solidFill>
                  <a:schemeClr val="tx2"/>
                </a:solidFill>
              </a:defRPr>
            </a:lvl1pPr>
          </a:lstStyle>
          <a:p>
            <a:r>
              <a:rPr lang="en-US" dirty="0"/>
              <a:t>Click To Edit </a:t>
            </a:r>
            <a:br>
              <a:rPr lang="en-US" dirty="0"/>
            </a:br>
            <a:r>
              <a:rPr lang="en-US" dirty="0"/>
              <a:t>Master Title Style</a:t>
            </a:r>
          </a:p>
        </p:txBody>
      </p:sp>
      <p:sp>
        <p:nvSpPr>
          <p:cNvPr id="3" name="Text Placeholder 2"/>
          <p:cNvSpPr>
            <a:spLocks noGrp="1"/>
          </p:cNvSpPr>
          <p:nvPr>
            <p:ph type="body" idx="1"/>
          </p:nvPr>
        </p:nvSpPr>
        <p:spPr>
          <a:xfrm>
            <a:off x="2876554" y="3357165"/>
            <a:ext cx="5894302" cy="1500187"/>
          </a:xfrm>
        </p:spPr>
        <p:txBody>
          <a:bodyPr/>
          <a:lstStyle>
            <a:lvl1pPr marL="0" indent="0" algn="ctr">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4" name="Date Placeholder 3"/>
          <p:cNvSpPr>
            <a:spLocks noGrp="1"/>
          </p:cNvSpPr>
          <p:nvPr>
            <p:ph type="dt" sz="half" idx="10"/>
          </p:nvPr>
        </p:nvSpPr>
        <p:spPr/>
        <p:txBody>
          <a:bodyPr/>
          <a:lstStyle/>
          <a:p>
            <a:fld id="{C48ADFD3-F854-41F5-BFAE-93B13FD028EA}" type="datetimeFigureOut">
              <a:rPr lang="en-US" smtClean="0"/>
              <a:t>4/2/2026</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6780B6AC-FBDE-415B-BDC5-8937C05D3A52}" type="slidenum">
              <a:rPr lang="en-US" smtClean="0"/>
              <a:t>‹#›</a:t>
            </a:fld>
            <a:endParaRPr lang="en-US"/>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1142397" y="6187280"/>
            <a:ext cx="838422" cy="483395"/>
          </a:xfrm>
          <a:prstGeom prst="rect">
            <a:avLst/>
          </a:prstGeom>
        </p:spPr>
      </p:pic>
    </p:spTree>
    <p:extLst>
      <p:ext uri="{BB962C8B-B14F-4D97-AF65-F5344CB8AC3E}">
        <p14:creationId xmlns:p14="http://schemas.microsoft.com/office/powerpoint/2010/main" val="13340944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r="11700" b="11496"/>
          <a:stretch/>
        </p:blipFill>
        <p:spPr>
          <a:xfrm>
            <a:off x="0" y="-7221"/>
            <a:ext cx="12195544" cy="6875854"/>
          </a:xfrm>
          <a:prstGeom prst="rect">
            <a:avLst/>
          </a:prstGeom>
        </p:spPr>
      </p:pic>
      <p:sp>
        <p:nvSpPr>
          <p:cNvPr id="11" name="Title 1"/>
          <p:cNvSpPr txBox="1">
            <a:spLocks/>
          </p:cNvSpPr>
          <p:nvPr userDrawn="1"/>
        </p:nvSpPr>
        <p:spPr>
          <a:xfrm>
            <a:off x="992187" y="1319351"/>
            <a:ext cx="6781799" cy="762000"/>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4400" kern="1200" cap="all" baseline="0">
                <a:solidFill>
                  <a:schemeClr val="tx1">
                    <a:lumMod val="50000"/>
                  </a:schemeClr>
                </a:solidFill>
                <a:latin typeface="+mj-lt"/>
                <a:ea typeface="+mj-ea"/>
                <a:cs typeface="+mj-cs"/>
              </a:defRPr>
            </a:lvl1pPr>
          </a:lstStyle>
          <a:p>
            <a:endParaRPr lang="en-US" dirty="0">
              <a:latin typeface="Futura Md BT" panose="020B0602020204020303" pitchFamily="34" charset="0"/>
            </a:endParaRPr>
          </a:p>
        </p:txBody>
      </p:sp>
      <p:sp>
        <p:nvSpPr>
          <p:cNvPr id="4" name="Date Placeholder 3"/>
          <p:cNvSpPr>
            <a:spLocks noGrp="1"/>
          </p:cNvSpPr>
          <p:nvPr>
            <p:ph type="dt" sz="half" idx="10"/>
          </p:nvPr>
        </p:nvSpPr>
        <p:spPr>
          <a:xfrm>
            <a:off x="613841" y="6333165"/>
            <a:ext cx="2743200" cy="365125"/>
          </a:xfrm>
        </p:spPr>
        <p:txBody>
          <a:bodyPr/>
          <a:lstStyle/>
          <a:p>
            <a:fld id="{C48ADFD3-F854-41F5-BFAE-93B13FD028EA}" type="datetimeFigureOut">
              <a:rPr lang="en-US" smtClean="0"/>
              <a:t>4/2/2026</a:t>
            </a:fld>
            <a:endParaRPr lang="en-US" dirty="0"/>
          </a:p>
        </p:txBody>
      </p:sp>
      <p:pic>
        <p:nvPicPr>
          <p:cNvPr id="3" name="Picture 2"/>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666944" y="5443870"/>
            <a:ext cx="1179465" cy="680024"/>
          </a:xfrm>
          <a:prstGeom prst="rect">
            <a:avLst/>
          </a:prstGeom>
        </p:spPr>
      </p:pic>
      <p:sp>
        <p:nvSpPr>
          <p:cNvPr id="13" name="Text Placeholder 4"/>
          <p:cNvSpPr>
            <a:spLocks noGrp="1"/>
          </p:cNvSpPr>
          <p:nvPr>
            <p:ph type="body" sz="quarter" idx="11" hasCustomPrompt="1"/>
          </p:nvPr>
        </p:nvSpPr>
        <p:spPr>
          <a:xfrm>
            <a:off x="677635" y="528621"/>
            <a:ext cx="5072715" cy="2092585"/>
          </a:xfrm>
        </p:spPr>
        <p:txBody>
          <a:bodyPr anchor="b">
            <a:normAutofit/>
          </a:bodyPr>
          <a:lstStyle>
            <a:lvl1pPr marL="0" indent="0">
              <a:buNone/>
              <a:defRPr sz="4400" b="0" baseline="0">
                <a:solidFill>
                  <a:srgbClr val="00447B"/>
                </a:solidFill>
                <a:latin typeface="Arial" panose="020B0604020202020204" pitchFamily="34" charset="0"/>
                <a:cs typeface="Arial" panose="020B0604020202020204" pitchFamily="34" charset="0"/>
              </a:defRPr>
            </a:lvl1pPr>
          </a:lstStyle>
          <a:p>
            <a:pPr lvl="0"/>
            <a:r>
              <a:rPr lang="en-US" dirty="0"/>
              <a:t>Insert Divider Title</a:t>
            </a:r>
          </a:p>
        </p:txBody>
      </p:sp>
      <p:sp>
        <p:nvSpPr>
          <p:cNvPr id="14" name="Text Placeholder 6"/>
          <p:cNvSpPr>
            <a:spLocks noGrp="1"/>
          </p:cNvSpPr>
          <p:nvPr>
            <p:ph type="body" sz="quarter" idx="12" hasCustomPrompt="1"/>
          </p:nvPr>
        </p:nvSpPr>
        <p:spPr>
          <a:xfrm>
            <a:off x="677635" y="2621206"/>
            <a:ext cx="5072715" cy="1431351"/>
          </a:xfrm>
        </p:spPr>
        <p:txBody>
          <a:bodyPr/>
          <a:lstStyle>
            <a:lvl1pPr marL="0" indent="0">
              <a:buNone/>
              <a:defRPr baseline="0">
                <a:solidFill>
                  <a:srgbClr val="99BCE4"/>
                </a:solidFill>
                <a:latin typeface="Arial" panose="020B0604020202020204" pitchFamily="34" charset="0"/>
                <a:cs typeface="Arial" panose="020B0604020202020204" pitchFamily="34" charset="0"/>
              </a:defRPr>
            </a:lvl1pPr>
          </a:lstStyle>
          <a:p>
            <a:pPr lvl="0"/>
            <a:r>
              <a:rPr lang="en-US" dirty="0"/>
              <a:t>Insert subtitle</a:t>
            </a:r>
          </a:p>
        </p:txBody>
      </p:sp>
    </p:spTree>
    <p:extLst>
      <p:ext uri="{BB962C8B-B14F-4D97-AF65-F5344CB8AC3E}">
        <p14:creationId xmlns:p14="http://schemas.microsoft.com/office/powerpoint/2010/main" val="110927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 Team Member Pag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326"/>
            <a:ext cx="12222800" cy="6875325"/>
          </a:xfrm>
          <a:prstGeom prst="rect">
            <a:avLst/>
          </a:prstGeom>
        </p:spPr>
      </p:pic>
      <p:sp>
        <p:nvSpPr>
          <p:cNvPr id="3" name="Date Placeholder 2"/>
          <p:cNvSpPr>
            <a:spLocks noGrp="1"/>
          </p:cNvSpPr>
          <p:nvPr>
            <p:ph type="dt" sz="half" idx="10"/>
          </p:nvPr>
        </p:nvSpPr>
        <p:spPr/>
        <p:txBody>
          <a:bodyPr/>
          <a:lstStyle/>
          <a:p>
            <a:fld id="{C48ADFD3-F854-41F5-BFAE-93B13FD028EA}" type="datetimeFigureOut">
              <a:rPr lang="en-US" smtClean="0"/>
              <a:t>4/2/2026</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6780B6AC-FBDE-415B-BDC5-8937C05D3A52}" type="slidenum">
              <a:rPr lang="en-US" smtClean="0"/>
              <a:t>‹#›</a:t>
            </a:fld>
            <a:endParaRPr lang="en-US"/>
          </a:p>
        </p:txBody>
      </p:sp>
      <p:sp>
        <p:nvSpPr>
          <p:cNvPr id="38" name="Picture Placeholder 37"/>
          <p:cNvSpPr>
            <a:spLocks noGrp="1"/>
          </p:cNvSpPr>
          <p:nvPr>
            <p:ph type="pic" sz="quarter" idx="13" hasCustomPrompt="1"/>
          </p:nvPr>
        </p:nvSpPr>
        <p:spPr>
          <a:xfrm>
            <a:off x="847725" y="1399509"/>
            <a:ext cx="1487488" cy="1486458"/>
          </a:xfrm>
        </p:spPr>
        <p:txBody>
          <a:bodyPr>
            <a:normAutofit/>
          </a:bodyPr>
          <a:lstStyle>
            <a:lvl1pPr marL="0" indent="0">
              <a:buNone/>
              <a:defRPr sz="1400" baseline="0">
                <a:solidFill>
                  <a:srgbClr val="00447B"/>
                </a:solidFill>
              </a:defRPr>
            </a:lvl1pPr>
          </a:lstStyle>
          <a:p>
            <a:r>
              <a:rPr lang="en-US" dirty="0"/>
              <a:t>Click icon to insert headshot</a:t>
            </a:r>
          </a:p>
        </p:txBody>
      </p:sp>
      <p:sp>
        <p:nvSpPr>
          <p:cNvPr id="48" name="Picture Placeholder 37"/>
          <p:cNvSpPr>
            <a:spLocks noGrp="1"/>
          </p:cNvSpPr>
          <p:nvPr>
            <p:ph type="pic" sz="quarter" idx="14" hasCustomPrompt="1"/>
          </p:nvPr>
        </p:nvSpPr>
        <p:spPr>
          <a:xfrm>
            <a:off x="838200" y="3001078"/>
            <a:ext cx="1487488" cy="1486458"/>
          </a:xfrm>
        </p:spPr>
        <p:txBody>
          <a:bodyPr>
            <a:normAutofit/>
          </a:bodyPr>
          <a:lstStyle>
            <a:lvl1pPr marL="0" indent="0">
              <a:buNone/>
              <a:defRPr lang="en-US" sz="1400" kern="1200" baseline="0" dirty="0">
                <a:solidFill>
                  <a:srgbClr val="00447B"/>
                </a:solidFill>
                <a:latin typeface="+mn-lt"/>
                <a:ea typeface="+mn-ea"/>
                <a:cs typeface="+mn-cs"/>
              </a:defRPr>
            </a:lvl1pPr>
          </a:lstStyle>
          <a:p>
            <a:r>
              <a:rPr lang="en-US" dirty="0"/>
              <a:t>Click icon to insert headshot</a:t>
            </a:r>
          </a:p>
        </p:txBody>
      </p:sp>
      <p:sp>
        <p:nvSpPr>
          <p:cNvPr id="49" name="Picture Placeholder 37"/>
          <p:cNvSpPr>
            <a:spLocks noGrp="1"/>
          </p:cNvSpPr>
          <p:nvPr>
            <p:ph type="pic" sz="quarter" idx="15" hasCustomPrompt="1"/>
          </p:nvPr>
        </p:nvSpPr>
        <p:spPr>
          <a:xfrm>
            <a:off x="847725" y="4599782"/>
            <a:ext cx="1487488" cy="1486458"/>
          </a:xfrm>
        </p:spPr>
        <p:txBody>
          <a:bodyPr>
            <a:normAutofit/>
          </a:bodyPr>
          <a:lstStyle>
            <a:lvl1pPr marL="0" indent="0">
              <a:buNone/>
              <a:defRPr lang="en-US" sz="1400" kern="1200" baseline="0" dirty="0">
                <a:solidFill>
                  <a:srgbClr val="00447B"/>
                </a:solidFill>
                <a:latin typeface="+mn-lt"/>
                <a:ea typeface="+mn-ea"/>
                <a:cs typeface="+mn-cs"/>
              </a:defRPr>
            </a:lvl1pPr>
          </a:lstStyle>
          <a:p>
            <a:r>
              <a:rPr lang="en-US" dirty="0"/>
              <a:t>Click icon to insert headshot</a:t>
            </a:r>
          </a:p>
        </p:txBody>
      </p:sp>
      <p:sp>
        <p:nvSpPr>
          <p:cNvPr id="50" name="Picture Placeholder 37"/>
          <p:cNvSpPr>
            <a:spLocks noGrp="1"/>
          </p:cNvSpPr>
          <p:nvPr>
            <p:ph type="pic" sz="quarter" idx="16" hasCustomPrompt="1"/>
          </p:nvPr>
        </p:nvSpPr>
        <p:spPr>
          <a:xfrm>
            <a:off x="5964387" y="1393661"/>
            <a:ext cx="1487488" cy="1486458"/>
          </a:xfrm>
        </p:spPr>
        <p:txBody>
          <a:bodyPr>
            <a:normAutofit/>
          </a:bodyPr>
          <a:lstStyle>
            <a:lvl1pPr marL="0" indent="0">
              <a:buNone/>
              <a:defRPr lang="en-US" sz="1400" kern="1200" baseline="0" dirty="0">
                <a:solidFill>
                  <a:srgbClr val="00447B"/>
                </a:solidFill>
                <a:latin typeface="+mn-lt"/>
                <a:ea typeface="+mn-ea"/>
                <a:cs typeface="+mn-cs"/>
              </a:defRPr>
            </a:lvl1pPr>
          </a:lstStyle>
          <a:p>
            <a:r>
              <a:rPr lang="en-US" dirty="0"/>
              <a:t>Click icon to insert headshot</a:t>
            </a:r>
          </a:p>
        </p:txBody>
      </p:sp>
      <p:sp>
        <p:nvSpPr>
          <p:cNvPr id="51" name="Picture Placeholder 37"/>
          <p:cNvSpPr>
            <a:spLocks noGrp="1"/>
          </p:cNvSpPr>
          <p:nvPr>
            <p:ph type="pic" sz="quarter" idx="17" hasCustomPrompt="1"/>
          </p:nvPr>
        </p:nvSpPr>
        <p:spPr>
          <a:xfrm>
            <a:off x="5946985" y="2987409"/>
            <a:ext cx="1487488" cy="1486458"/>
          </a:xfrm>
        </p:spPr>
        <p:txBody>
          <a:bodyPr>
            <a:normAutofit/>
          </a:bodyPr>
          <a:lstStyle>
            <a:lvl1pPr marL="0" indent="0">
              <a:buNone/>
              <a:defRPr lang="en-US" sz="1400" kern="1200" baseline="0" dirty="0">
                <a:solidFill>
                  <a:srgbClr val="00447B"/>
                </a:solidFill>
                <a:latin typeface="+mn-lt"/>
                <a:ea typeface="+mn-ea"/>
                <a:cs typeface="+mn-cs"/>
              </a:defRPr>
            </a:lvl1pPr>
          </a:lstStyle>
          <a:p>
            <a:r>
              <a:rPr lang="en-US" dirty="0"/>
              <a:t>Click icon to insert headshot</a:t>
            </a:r>
          </a:p>
        </p:txBody>
      </p:sp>
      <p:sp>
        <p:nvSpPr>
          <p:cNvPr id="52" name="Picture Placeholder 37"/>
          <p:cNvSpPr>
            <a:spLocks noGrp="1"/>
          </p:cNvSpPr>
          <p:nvPr>
            <p:ph type="pic" sz="quarter" idx="18" hasCustomPrompt="1"/>
          </p:nvPr>
        </p:nvSpPr>
        <p:spPr>
          <a:xfrm>
            <a:off x="5956223" y="4598230"/>
            <a:ext cx="1487488" cy="1486458"/>
          </a:xfrm>
        </p:spPr>
        <p:txBody>
          <a:bodyPr>
            <a:normAutofit/>
          </a:bodyPr>
          <a:lstStyle>
            <a:lvl1pPr marL="0" indent="0">
              <a:buNone/>
              <a:defRPr lang="en-US" sz="1400" kern="1200" baseline="0" dirty="0">
                <a:solidFill>
                  <a:srgbClr val="00447B"/>
                </a:solidFill>
                <a:latin typeface="+mn-lt"/>
                <a:ea typeface="+mn-ea"/>
                <a:cs typeface="+mn-cs"/>
              </a:defRPr>
            </a:lvl1pPr>
          </a:lstStyle>
          <a:p>
            <a:r>
              <a:rPr lang="en-US" dirty="0"/>
              <a:t>Click icon to insert headshot</a:t>
            </a:r>
          </a:p>
        </p:txBody>
      </p:sp>
      <p:sp>
        <p:nvSpPr>
          <p:cNvPr id="53" name="Title 52"/>
          <p:cNvSpPr>
            <a:spLocks noGrp="1"/>
          </p:cNvSpPr>
          <p:nvPr>
            <p:ph type="title" hasCustomPrompt="1"/>
          </p:nvPr>
        </p:nvSpPr>
        <p:spPr>
          <a:xfrm>
            <a:off x="847725" y="274480"/>
            <a:ext cx="10676164" cy="1125991"/>
          </a:xfrm>
          <a:prstGeom prst="rect">
            <a:avLst/>
          </a:prstGeom>
        </p:spPr>
        <p:txBody>
          <a:bodyPr/>
          <a:lstStyle>
            <a:lvl1pPr>
              <a:defRPr>
                <a:solidFill>
                  <a:schemeClr val="tx2"/>
                </a:solidFill>
              </a:defRPr>
            </a:lvl1pPr>
          </a:lstStyle>
          <a:p>
            <a:r>
              <a:rPr lang="en-US" dirty="0"/>
              <a:t>Team Members</a:t>
            </a:r>
          </a:p>
        </p:txBody>
      </p:sp>
      <p:sp>
        <p:nvSpPr>
          <p:cNvPr id="12" name="Text Placeholder 5"/>
          <p:cNvSpPr>
            <a:spLocks noGrp="1"/>
          </p:cNvSpPr>
          <p:nvPr>
            <p:ph type="body" sz="quarter" idx="19" hasCustomPrompt="1"/>
          </p:nvPr>
        </p:nvSpPr>
        <p:spPr>
          <a:xfrm>
            <a:off x="2409343" y="1432165"/>
            <a:ext cx="2973362" cy="415414"/>
          </a:xfrm>
        </p:spPr>
        <p:txBody>
          <a:bodyPr>
            <a:noAutofit/>
          </a:bodyPr>
          <a:lstStyle>
            <a:lvl1pPr marL="0" indent="0">
              <a:buNone/>
              <a:defRPr sz="2000" baseline="0">
                <a:solidFill>
                  <a:schemeClr val="tx2"/>
                </a:solidFill>
              </a:defRPr>
            </a:lvl1pPr>
          </a:lstStyle>
          <a:p>
            <a:pPr lvl="0"/>
            <a:r>
              <a:rPr lang="en-US" dirty="0"/>
              <a:t>Attorney Name</a:t>
            </a:r>
          </a:p>
        </p:txBody>
      </p:sp>
      <p:sp>
        <p:nvSpPr>
          <p:cNvPr id="13" name="Text Placeholder 5"/>
          <p:cNvSpPr>
            <a:spLocks noGrp="1"/>
          </p:cNvSpPr>
          <p:nvPr>
            <p:ph type="body" sz="quarter" idx="20" hasCustomPrompt="1"/>
          </p:nvPr>
        </p:nvSpPr>
        <p:spPr>
          <a:xfrm>
            <a:off x="2409343" y="1806759"/>
            <a:ext cx="2973362" cy="262221"/>
          </a:xfrm>
        </p:spPr>
        <p:txBody>
          <a:bodyPr>
            <a:noAutofit/>
          </a:bodyPr>
          <a:lstStyle>
            <a:lvl1pPr marL="0" indent="0">
              <a:buNone/>
              <a:defRPr sz="1600" baseline="0">
                <a:solidFill>
                  <a:schemeClr val="tx2"/>
                </a:solidFill>
              </a:defRPr>
            </a:lvl1pPr>
          </a:lstStyle>
          <a:p>
            <a:pPr lvl="0"/>
            <a:r>
              <a:rPr lang="en-US" dirty="0"/>
              <a:t>Title</a:t>
            </a:r>
          </a:p>
        </p:txBody>
      </p:sp>
      <p:sp>
        <p:nvSpPr>
          <p:cNvPr id="14" name="Text Placeholder 5"/>
          <p:cNvSpPr>
            <a:spLocks noGrp="1"/>
          </p:cNvSpPr>
          <p:nvPr>
            <p:ph type="body" sz="quarter" idx="21" hasCustomPrompt="1"/>
          </p:nvPr>
        </p:nvSpPr>
        <p:spPr>
          <a:xfrm>
            <a:off x="2409343" y="2100674"/>
            <a:ext cx="2973362" cy="777129"/>
          </a:xfrm>
        </p:spPr>
        <p:txBody>
          <a:bodyPr>
            <a:noAutofit/>
          </a:bodyPr>
          <a:lstStyle>
            <a:lvl1pPr marL="0" indent="0">
              <a:lnSpc>
                <a:spcPct val="100000"/>
              </a:lnSpc>
              <a:spcBef>
                <a:spcPts val="0"/>
              </a:spcBef>
              <a:buNone/>
              <a:defRPr sz="1200" baseline="0">
                <a:solidFill>
                  <a:srgbClr val="00447B"/>
                </a:solidFill>
              </a:defRPr>
            </a:lvl1pPr>
          </a:lstStyle>
          <a:p>
            <a:pPr lvl="0"/>
            <a:r>
              <a:rPr lang="en-US" dirty="0"/>
              <a:t>attorney.name@ogletree.com</a:t>
            </a:r>
          </a:p>
          <a:p>
            <a:pPr lvl="0"/>
            <a:r>
              <a:rPr lang="en-US" dirty="0"/>
              <a:t>555-555-5555</a:t>
            </a:r>
          </a:p>
          <a:p>
            <a:pPr lvl="0"/>
            <a:r>
              <a:rPr lang="en-US" dirty="0"/>
              <a:t>555 Address</a:t>
            </a:r>
          </a:p>
          <a:p>
            <a:pPr lvl="0"/>
            <a:r>
              <a:rPr lang="en-US" dirty="0"/>
              <a:t>Atlanta, GA 55555</a:t>
            </a:r>
          </a:p>
        </p:txBody>
      </p:sp>
      <p:sp>
        <p:nvSpPr>
          <p:cNvPr id="15" name="Text Placeholder 5"/>
          <p:cNvSpPr>
            <a:spLocks noGrp="1"/>
          </p:cNvSpPr>
          <p:nvPr>
            <p:ph type="body" sz="quarter" idx="22" hasCustomPrompt="1"/>
          </p:nvPr>
        </p:nvSpPr>
        <p:spPr>
          <a:xfrm>
            <a:off x="2409343" y="3040172"/>
            <a:ext cx="2973362" cy="415414"/>
          </a:xfrm>
        </p:spPr>
        <p:txBody>
          <a:bodyPr>
            <a:noAutofit/>
          </a:bodyPr>
          <a:lstStyle>
            <a:lvl1pPr marL="0" indent="0">
              <a:buNone/>
              <a:defRPr sz="2000" baseline="0">
                <a:solidFill>
                  <a:schemeClr val="tx2"/>
                </a:solidFill>
              </a:defRPr>
            </a:lvl1pPr>
          </a:lstStyle>
          <a:p>
            <a:pPr lvl="0"/>
            <a:r>
              <a:rPr lang="en-US" dirty="0"/>
              <a:t>Attorney Name</a:t>
            </a:r>
          </a:p>
        </p:txBody>
      </p:sp>
      <p:sp>
        <p:nvSpPr>
          <p:cNvPr id="16" name="Text Placeholder 5"/>
          <p:cNvSpPr>
            <a:spLocks noGrp="1"/>
          </p:cNvSpPr>
          <p:nvPr>
            <p:ph type="body" sz="quarter" idx="23" hasCustomPrompt="1"/>
          </p:nvPr>
        </p:nvSpPr>
        <p:spPr>
          <a:xfrm>
            <a:off x="2409343" y="3414766"/>
            <a:ext cx="2973362" cy="262221"/>
          </a:xfrm>
        </p:spPr>
        <p:txBody>
          <a:bodyPr>
            <a:noAutofit/>
          </a:bodyPr>
          <a:lstStyle>
            <a:lvl1pPr marL="0" indent="0">
              <a:buNone/>
              <a:defRPr lang="en-US" sz="1600" kern="1200" baseline="0" dirty="0" smtClean="0">
                <a:solidFill>
                  <a:schemeClr val="tx2"/>
                </a:solidFill>
                <a:latin typeface="Arial" panose="020B0604020202020204" pitchFamily="34" charset="0"/>
                <a:ea typeface="+mn-ea"/>
                <a:cs typeface="Arial" panose="020B0604020202020204" pitchFamily="34" charset="0"/>
              </a:defRPr>
            </a:lvl1pPr>
          </a:lstStyle>
          <a:p>
            <a:pPr lvl="0"/>
            <a:r>
              <a:rPr lang="en-US" dirty="0"/>
              <a:t>Title</a:t>
            </a:r>
          </a:p>
        </p:txBody>
      </p:sp>
      <p:sp>
        <p:nvSpPr>
          <p:cNvPr id="17" name="Text Placeholder 5"/>
          <p:cNvSpPr>
            <a:spLocks noGrp="1"/>
          </p:cNvSpPr>
          <p:nvPr>
            <p:ph type="body" sz="quarter" idx="24" hasCustomPrompt="1"/>
          </p:nvPr>
        </p:nvSpPr>
        <p:spPr>
          <a:xfrm>
            <a:off x="2409343" y="3708681"/>
            <a:ext cx="2973362" cy="777129"/>
          </a:xfrm>
        </p:spPr>
        <p:txBody>
          <a:bodyPr>
            <a:noAutofit/>
          </a:bodyPr>
          <a:lstStyle>
            <a:lvl1pPr marL="0" indent="0">
              <a:lnSpc>
                <a:spcPct val="100000"/>
              </a:lnSpc>
              <a:spcBef>
                <a:spcPts val="0"/>
              </a:spcBef>
              <a:buNone/>
              <a:defRPr sz="1200" baseline="0">
                <a:solidFill>
                  <a:srgbClr val="00447B"/>
                </a:solidFill>
              </a:defRPr>
            </a:lvl1pPr>
          </a:lstStyle>
          <a:p>
            <a:pPr lvl="0"/>
            <a:r>
              <a:rPr lang="en-US" dirty="0"/>
              <a:t>attorney.name@ogletree.com</a:t>
            </a:r>
          </a:p>
          <a:p>
            <a:pPr lvl="0"/>
            <a:r>
              <a:rPr lang="en-US" dirty="0"/>
              <a:t>555-555-5555</a:t>
            </a:r>
          </a:p>
          <a:p>
            <a:pPr lvl="0"/>
            <a:r>
              <a:rPr lang="en-US" dirty="0"/>
              <a:t>555 Address</a:t>
            </a:r>
          </a:p>
          <a:p>
            <a:pPr lvl="0"/>
            <a:r>
              <a:rPr lang="en-US" dirty="0"/>
              <a:t>Atlanta, GA 55555</a:t>
            </a:r>
          </a:p>
        </p:txBody>
      </p:sp>
      <p:sp>
        <p:nvSpPr>
          <p:cNvPr id="18" name="Text Placeholder 5"/>
          <p:cNvSpPr>
            <a:spLocks noGrp="1"/>
          </p:cNvSpPr>
          <p:nvPr>
            <p:ph type="body" sz="quarter" idx="25" hasCustomPrompt="1"/>
          </p:nvPr>
        </p:nvSpPr>
        <p:spPr>
          <a:xfrm>
            <a:off x="2409343" y="4640602"/>
            <a:ext cx="2973362" cy="415414"/>
          </a:xfrm>
        </p:spPr>
        <p:txBody>
          <a:bodyPr>
            <a:noAutofit/>
          </a:bodyPr>
          <a:lstStyle>
            <a:lvl1pPr marL="0" indent="0">
              <a:buNone/>
              <a:defRPr lang="en-US" sz="2000" kern="1200" baseline="0" dirty="0" smtClean="0">
                <a:solidFill>
                  <a:schemeClr val="tx2"/>
                </a:solidFill>
                <a:latin typeface="Arial" panose="020B0604020202020204" pitchFamily="34" charset="0"/>
                <a:ea typeface="+mn-ea"/>
                <a:cs typeface="Arial" panose="020B0604020202020204" pitchFamily="34" charset="0"/>
              </a:defRPr>
            </a:lvl1pPr>
          </a:lstStyle>
          <a:p>
            <a:pPr lvl="0"/>
            <a:r>
              <a:rPr lang="en-US" dirty="0"/>
              <a:t>Attorney Name</a:t>
            </a:r>
          </a:p>
        </p:txBody>
      </p:sp>
      <p:sp>
        <p:nvSpPr>
          <p:cNvPr id="19" name="Text Placeholder 5"/>
          <p:cNvSpPr>
            <a:spLocks noGrp="1"/>
          </p:cNvSpPr>
          <p:nvPr>
            <p:ph type="body" sz="quarter" idx="26" hasCustomPrompt="1"/>
          </p:nvPr>
        </p:nvSpPr>
        <p:spPr>
          <a:xfrm>
            <a:off x="2409343" y="5015196"/>
            <a:ext cx="2973362" cy="262221"/>
          </a:xfrm>
        </p:spPr>
        <p:txBody>
          <a:bodyPr>
            <a:noAutofit/>
          </a:bodyPr>
          <a:lstStyle>
            <a:lvl1pPr marL="0" indent="0">
              <a:buNone/>
              <a:defRPr lang="en-US" sz="1600" kern="1200" baseline="0" dirty="0" smtClean="0">
                <a:solidFill>
                  <a:schemeClr val="tx2"/>
                </a:solidFill>
                <a:latin typeface="Arial" panose="020B0604020202020204" pitchFamily="34" charset="0"/>
                <a:ea typeface="+mn-ea"/>
                <a:cs typeface="Arial" panose="020B0604020202020204" pitchFamily="34" charset="0"/>
              </a:defRPr>
            </a:lvl1pPr>
          </a:lstStyle>
          <a:p>
            <a:pPr lvl="0"/>
            <a:r>
              <a:rPr lang="en-US" dirty="0"/>
              <a:t>Title</a:t>
            </a:r>
          </a:p>
        </p:txBody>
      </p:sp>
      <p:sp>
        <p:nvSpPr>
          <p:cNvPr id="20" name="Text Placeholder 5"/>
          <p:cNvSpPr>
            <a:spLocks noGrp="1"/>
          </p:cNvSpPr>
          <p:nvPr>
            <p:ph type="body" sz="quarter" idx="27" hasCustomPrompt="1"/>
          </p:nvPr>
        </p:nvSpPr>
        <p:spPr>
          <a:xfrm>
            <a:off x="2409343" y="5309111"/>
            <a:ext cx="2973362" cy="777129"/>
          </a:xfrm>
        </p:spPr>
        <p:txBody>
          <a:bodyPr>
            <a:noAutofit/>
          </a:bodyPr>
          <a:lstStyle>
            <a:lvl1pPr marL="0" indent="0">
              <a:lnSpc>
                <a:spcPct val="100000"/>
              </a:lnSpc>
              <a:spcBef>
                <a:spcPts val="0"/>
              </a:spcBef>
              <a:buNone/>
              <a:defRPr sz="1200" baseline="0">
                <a:solidFill>
                  <a:srgbClr val="00447B"/>
                </a:solidFill>
              </a:defRPr>
            </a:lvl1pPr>
          </a:lstStyle>
          <a:p>
            <a:pPr lvl="0"/>
            <a:r>
              <a:rPr lang="en-US" dirty="0"/>
              <a:t>attorney.name@ogletree.com</a:t>
            </a:r>
          </a:p>
          <a:p>
            <a:pPr lvl="0"/>
            <a:r>
              <a:rPr lang="en-US" dirty="0"/>
              <a:t>555-555-5555</a:t>
            </a:r>
          </a:p>
          <a:p>
            <a:pPr lvl="0"/>
            <a:r>
              <a:rPr lang="en-US" dirty="0"/>
              <a:t>555 Address</a:t>
            </a:r>
          </a:p>
          <a:p>
            <a:pPr lvl="0"/>
            <a:r>
              <a:rPr lang="en-US" dirty="0"/>
              <a:t>Atlanta, GA 55555</a:t>
            </a:r>
          </a:p>
        </p:txBody>
      </p:sp>
      <p:sp>
        <p:nvSpPr>
          <p:cNvPr id="21" name="Text Placeholder 5"/>
          <p:cNvSpPr>
            <a:spLocks noGrp="1"/>
          </p:cNvSpPr>
          <p:nvPr>
            <p:ph type="body" sz="quarter" idx="28" hasCustomPrompt="1"/>
          </p:nvPr>
        </p:nvSpPr>
        <p:spPr>
          <a:xfrm>
            <a:off x="7525198" y="1432165"/>
            <a:ext cx="2973362" cy="415414"/>
          </a:xfrm>
        </p:spPr>
        <p:txBody>
          <a:bodyPr>
            <a:noAutofit/>
          </a:bodyPr>
          <a:lstStyle>
            <a:lvl1pPr marL="0" indent="0">
              <a:buNone/>
              <a:defRPr lang="en-US" sz="2000" kern="1200" baseline="0" dirty="0" smtClean="0">
                <a:solidFill>
                  <a:schemeClr val="tx2"/>
                </a:solidFill>
                <a:latin typeface="Arial" panose="020B0604020202020204" pitchFamily="34" charset="0"/>
                <a:ea typeface="+mn-ea"/>
                <a:cs typeface="Arial" panose="020B0604020202020204" pitchFamily="34" charset="0"/>
              </a:defRPr>
            </a:lvl1pPr>
          </a:lstStyle>
          <a:p>
            <a:pPr lvl="0"/>
            <a:r>
              <a:rPr lang="en-US" dirty="0"/>
              <a:t>Attorney Name</a:t>
            </a:r>
          </a:p>
        </p:txBody>
      </p:sp>
      <p:sp>
        <p:nvSpPr>
          <p:cNvPr id="22" name="Text Placeholder 5"/>
          <p:cNvSpPr>
            <a:spLocks noGrp="1"/>
          </p:cNvSpPr>
          <p:nvPr>
            <p:ph type="body" sz="quarter" idx="29" hasCustomPrompt="1"/>
          </p:nvPr>
        </p:nvSpPr>
        <p:spPr>
          <a:xfrm>
            <a:off x="7525198" y="1806759"/>
            <a:ext cx="2973362" cy="262221"/>
          </a:xfrm>
        </p:spPr>
        <p:txBody>
          <a:bodyPr>
            <a:noAutofit/>
          </a:bodyPr>
          <a:lstStyle>
            <a:lvl1pPr marL="0" indent="0">
              <a:buNone/>
              <a:defRPr lang="en-US" sz="1600" kern="1200" baseline="0" dirty="0" smtClean="0">
                <a:solidFill>
                  <a:schemeClr val="tx2"/>
                </a:solidFill>
                <a:latin typeface="Arial" panose="020B0604020202020204" pitchFamily="34" charset="0"/>
                <a:ea typeface="+mn-ea"/>
                <a:cs typeface="Arial" panose="020B0604020202020204" pitchFamily="34" charset="0"/>
              </a:defRPr>
            </a:lvl1pPr>
          </a:lstStyle>
          <a:p>
            <a:pPr lvl="0"/>
            <a:r>
              <a:rPr lang="en-US" dirty="0"/>
              <a:t>Title</a:t>
            </a:r>
          </a:p>
        </p:txBody>
      </p:sp>
      <p:sp>
        <p:nvSpPr>
          <p:cNvPr id="23" name="Text Placeholder 5"/>
          <p:cNvSpPr>
            <a:spLocks noGrp="1"/>
          </p:cNvSpPr>
          <p:nvPr>
            <p:ph type="body" sz="quarter" idx="30" hasCustomPrompt="1"/>
          </p:nvPr>
        </p:nvSpPr>
        <p:spPr>
          <a:xfrm>
            <a:off x="7525198" y="2100674"/>
            <a:ext cx="2973362" cy="777129"/>
          </a:xfrm>
        </p:spPr>
        <p:txBody>
          <a:bodyPr>
            <a:noAutofit/>
          </a:bodyPr>
          <a:lstStyle>
            <a:lvl1pPr marL="0" indent="0">
              <a:lnSpc>
                <a:spcPct val="100000"/>
              </a:lnSpc>
              <a:spcBef>
                <a:spcPts val="0"/>
              </a:spcBef>
              <a:buNone/>
              <a:defRPr sz="1200" baseline="0">
                <a:solidFill>
                  <a:srgbClr val="00447B"/>
                </a:solidFill>
              </a:defRPr>
            </a:lvl1pPr>
          </a:lstStyle>
          <a:p>
            <a:pPr lvl="0"/>
            <a:r>
              <a:rPr lang="en-US" dirty="0"/>
              <a:t>attorney.name@ogletree.com</a:t>
            </a:r>
          </a:p>
          <a:p>
            <a:pPr lvl="0"/>
            <a:r>
              <a:rPr lang="en-US" dirty="0"/>
              <a:t>555-555-5555</a:t>
            </a:r>
          </a:p>
          <a:p>
            <a:pPr lvl="0"/>
            <a:r>
              <a:rPr lang="en-US" dirty="0"/>
              <a:t>555 Address</a:t>
            </a:r>
          </a:p>
          <a:p>
            <a:pPr lvl="0"/>
            <a:r>
              <a:rPr lang="en-US" dirty="0"/>
              <a:t>Atlanta, GA 55555</a:t>
            </a:r>
          </a:p>
        </p:txBody>
      </p:sp>
      <p:sp>
        <p:nvSpPr>
          <p:cNvPr id="24" name="Text Placeholder 5"/>
          <p:cNvSpPr>
            <a:spLocks noGrp="1"/>
          </p:cNvSpPr>
          <p:nvPr>
            <p:ph type="body" sz="quarter" idx="31" hasCustomPrompt="1"/>
          </p:nvPr>
        </p:nvSpPr>
        <p:spPr>
          <a:xfrm>
            <a:off x="7525485" y="3040172"/>
            <a:ext cx="2973362" cy="415414"/>
          </a:xfrm>
        </p:spPr>
        <p:txBody>
          <a:bodyPr>
            <a:noAutofit/>
          </a:bodyPr>
          <a:lstStyle>
            <a:lvl1pPr marL="0" indent="0">
              <a:buNone/>
              <a:defRPr lang="en-US" sz="2000" kern="1200" baseline="0" dirty="0" smtClean="0">
                <a:solidFill>
                  <a:schemeClr val="tx2"/>
                </a:solidFill>
                <a:latin typeface="Arial" panose="020B0604020202020204" pitchFamily="34" charset="0"/>
                <a:ea typeface="+mn-ea"/>
                <a:cs typeface="Arial" panose="020B0604020202020204" pitchFamily="34" charset="0"/>
              </a:defRPr>
            </a:lvl1pPr>
          </a:lstStyle>
          <a:p>
            <a:pPr lvl="0"/>
            <a:r>
              <a:rPr lang="en-US" dirty="0"/>
              <a:t>Attorney Name</a:t>
            </a:r>
          </a:p>
        </p:txBody>
      </p:sp>
      <p:sp>
        <p:nvSpPr>
          <p:cNvPr id="25" name="Text Placeholder 5"/>
          <p:cNvSpPr>
            <a:spLocks noGrp="1"/>
          </p:cNvSpPr>
          <p:nvPr>
            <p:ph type="body" sz="quarter" idx="32" hasCustomPrompt="1"/>
          </p:nvPr>
        </p:nvSpPr>
        <p:spPr>
          <a:xfrm>
            <a:off x="7525485" y="3414766"/>
            <a:ext cx="2973362" cy="262221"/>
          </a:xfrm>
        </p:spPr>
        <p:txBody>
          <a:bodyPr>
            <a:noAutofit/>
          </a:bodyPr>
          <a:lstStyle>
            <a:lvl1pPr marL="0" indent="0">
              <a:buNone/>
              <a:defRPr lang="en-US" sz="1600" kern="1200" baseline="0" dirty="0" smtClean="0">
                <a:solidFill>
                  <a:schemeClr val="tx2"/>
                </a:solidFill>
                <a:latin typeface="Arial" panose="020B0604020202020204" pitchFamily="34" charset="0"/>
                <a:ea typeface="+mn-ea"/>
                <a:cs typeface="Arial" panose="020B0604020202020204" pitchFamily="34" charset="0"/>
              </a:defRPr>
            </a:lvl1pPr>
          </a:lstStyle>
          <a:p>
            <a:pPr lvl="0"/>
            <a:r>
              <a:rPr lang="en-US" dirty="0"/>
              <a:t>Title</a:t>
            </a:r>
          </a:p>
        </p:txBody>
      </p:sp>
      <p:sp>
        <p:nvSpPr>
          <p:cNvPr id="26" name="Text Placeholder 5"/>
          <p:cNvSpPr>
            <a:spLocks noGrp="1"/>
          </p:cNvSpPr>
          <p:nvPr>
            <p:ph type="body" sz="quarter" idx="33" hasCustomPrompt="1"/>
          </p:nvPr>
        </p:nvSpPr>
        <p:spPr>
          <a:xfrm>
            <a:off x="7525485" y="3708681"/>
            <a:ext cx="2973362" cy="777129"/>
          </a:xfrm>
        </p:spPr>
        <p:txBody>
          <a:bodyPr>
            <a:noAutofit/>
          </a:bodyPr>
          <a:lstStyle>
            <a:lvl1pPr marL="0" indent="0">
              <a:lnSpc>
                <a:spcPct val="100000"/>
              </a:lnSpc>
              <a:spcBef>
                <a:spcPts val="0"/>
              </a:spcBef>
              <a:buNone/>
              <a:defRPr sz="1200" baseline="0">
                <a:solidFill>
                  <a:srgbClr val="00447B"/>
                </a:solidFill>
              </a:defRPr>
            </a:lvl1pPr>
          </a:lstStyle>
          <a:p>
            <a:pPr lvl="0"/>
            <a:r>
              <a:rPr lang="en-US" dirty="0"/>
              <a:t>attorney.name@ogletree.com</a:t>
            </a:r>
          </a:p>
          <a:p>
            <a:pPr lvl="0"/>
            <a:r>
              <a:rPr lang="en-US" dirty="0"/>
              <a:t>555-555-5555</a:t>
            </a:r>
          </a:p>
          <a:p>
            <a:pPr lvl="0"/>
            <a:r>
              <a:rPr lang="en-US" dirty="0"/>
              <a:t>555 Address</a:t>
            </a:r>
          </a:p>
          <a:p>
            <a:pPr lvl="0"/>
            <a:r>
              <a:rPr lang="en-US" dirty="0"/>
              <a:t>Atlanta, GA 55555</a:t>
            </a:r>
          </a:p>
        </p:txBody>
      </p:sp>
      <p:sp>
        <p:nvSpPr>
          <p:cNvPr id="27" name="Text Placeholder 5"/>
          <p:cNvSpPr>
            <a:spLocks noGrp="1"/>
          </p:cNvSpPr>
          <p:nvPr>
            <p:ph type="body" sz="quarter" idx="34" hasCustomPrompt="1"/>
          </p:nvPr>
        </p:nvSpPr>
        <p:spPr>
          <a:xfrm>
            <a:off x="7525198" y="4640602"/>
            <a:ext cx="2973362" cy="415414"/>
          </a:xfrm>
        </p:spPr>
        <p:txBody>
          <a:bodyPr>
            <a:noAutofit/>
          </a:bodyPr>
          <a:lstStyle>
            <a:lvl1pPr marL="0" indent="0">
              <a:buNone/>
              <a:defRPr lang="en-US" sz="2000" kern="1200" baseline="0" dirty="0" smtClean="0">
                <a:solidFill>
                  <a:schemeClr val="tx2"/>
                </a:solidFill>
                <a:latin typeface="Arial" panose="020B0604020202020204" pitchFamily="34" charset="0"/>
                <a:ea typeface="+mn-ea"/>
                <a:cs typeface="Arial" panose="020B0604020202020204" pitchFamily="34" charset="0"/>
              </a:defRPr>
            </a:lvl1pPr>
          </a:lstStyle>
          <a:p>
            <a:pPr lvl="0"/>
            <a:r>
              <a:rPr lang="en-US" dirty="0"/>
              <a:t>Attorney Name</a:t>
            </a:r>
          </a:p>
        </p:txBody>
      </p:sp>
      <p:sp>
        <p:nvSpPr>
          <p:cNvPr id="28" name="Text Placeholder 5"/>
          <p:cNvSpPr>
            <a:spLocks noGrp="1"/>
          </p:cNvSpPr>
          <p:nvPr>
            <p:ph type="body" sz="quarter" idx="35" hasCustomPrompt="1"/>
          </p:nvPr>
        </p:nvSpPr>
        <p:spPr>
          <a:xfrm>
            <a:off x="7525198" y="5015196"/>
            <a:ext cx="2973362" cy="262221"/>
          </a:xfrm>
        </p:spPr>
        <p:txBody>
          <a:bodyPr>
            <a:noAutofit/>
          </a:bodyPr>
          <a:lstStyle>
            <a:lvl1pPr marL="0" indent="0">
              <a:buNone/>
              <a:defRPr lang="en-US" sz="1600" kern="1200" baseline="0" dirty="0" smtClean="0">
                <a:solidFill>
                  <a:schemeClr val="tx2"/>
                </a:solidFill>
                <a:latin typeface="Arial" panose="020B0604020202020204" pitchFamily="34" charset="0"/>
                <a:ea typeface="+mn-ea"/>
                <a:cs typeface="Arial" panose="020B0604020202020204" pitchFamily="34" charset="0"/>
              </a:defRPr>
            </a:lvl1pPr>
          </a:lstStyle>
          <a:p>
            <a:pPr lvl="0"/>
            <a:r>
              <a:rPr lang="en-US" dirty="0"/>
              <a:t>Title</a:t>
            </a:r>
          </a:p>
        </p:txBody>
      </p:sp>
      <p:sp>
        <p:nvSpPr>
          <p:cNvPr id="29" name="Text Placeholder 5"/>
          <p:cNvSpPr>
            <a:spLocks noGrp="1"/>
          </p:cNvSpPr>
          <p:nvPr>
            <p:ph type="body" sz="quarter" idx="36" hasCustomPrompt="1"/>
          </p:nvPr>
        </p:nvSpPr>
        <p:spPr>
          <a:xfrm>
            <a:off x="7525198" y="5309111"/>
            <a:ext cx="2973362" cy="777129"/>
          </a:xfrm>
        </p:spPr>
        <p:txBody>
          <a:bodyPr>
            <a:noAutofit/>
          </a:bodyPr>
          <a:lstStyle>
            <a:lvl1pPr marL="0" indent="0">
              <a:lnSpc>
                <a:spcPct val="100000"/>
              </a:lnSpc>
              <a:spcBef>
                <a:spcPts val="0"/>
              </a:spcBef>
              <a:buNone/>
              <a:defRPr sz="1200" baseline="0">
                <a:solidFill>
                  <a:srgbClr val="00447B"/>
                </a:solidFill>
              </a:defRPr>
            </a:lvl1pPr>
          </a:lstStyle>
          <a:p>
            <a:pPr lvl="0"/>
            <a:r>
              <a:rPr lang="en-US" dirty="0"/>
              <a:t>attorney.name@ogletree.com</a:t>
            </a:r>
          </a:p>
          <a:p>
            <a:pPr lvl="0"/>
            <a:r>
              <a:rPr lang="en-US" dirty="0"/>
              <a:t>555-555-5555</a:t>
            </a:r>
          </a:p>
          <a:p>
            <a:pPr lvl="0"/>
            <a:r>
              <a:rPr lang="en-US" dirty="0"/>
              <a:t>555 Address</a:t>
            </a:r>
          </a:p>
          <a:p>
            <a:pPr lvl="0"/>
            <a:r>
              <a:rPr lang="en-US" dirty="0"/>
              <a:t>Atlanta, GA 55555</a:t>
            </a:r>
          </a:p>
        </p:txBody>
      </p:sp>
      <p:pic>
        <p:nvPicPr>
          <p:cNvPr id="31" name="Picture 30"/>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1132237" y="6156800"/>
            <a:ext cx="838422" cy="483395"/>
          </a:xfrm>
          <a:prstGeom prst="rect">
            <a:avLst/>
          </a:prstGeom>
        </p:spPr>
      </p:pic>
    </p:spTree>
    <p:extLst>
      <p:ext uri="{BB962C8B-B14F-4D97-AF65-F5344CB8AC3E}">
        <p14:creationId xmlns:p14="http://schemas.microsoft.com/office/powerpoint/2010/main" val="4689305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 Team Member Page">
    <p:spTree>
      <p:nvGrpSpPr>
        <p:cNvPr id="1" name=""/>
        <p:cNvGrpSpPr/>
        <p:nvPr/>
      </p:nvGrpSpPr>
      <p:grpSpPr>
        <a:xfrm>
          <a:off x="0" y="0"/>
          <a:ext cx="0" cy="0"/>
          <a:chOff x="0" y="0"/>
          <a:chExt cx="0" cy="0"/>
        </a:xfrm>
      </p:grpSpPr>
      <p:pic>
        <p:nvPicPr>
          <p:cNvPr id="18" name="Picture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326"/>
            <a:ext cx="12222800" cy="6875325"/>
          </a:xfrm>
          <a:prstGeom prst="rect">
            <a:avLst/>
          </a:prstGeom>
        </p:spPr>
      </p:pic>
      <p:sp>
        <p:nvSpPr>
          <p:cNvPr id="12" name="Picture Placeholder 37"/>
          <p:cNvSpPr>
            <a:spLocks noGrp="1"/>
          </p:cNvSpPr>
          <p:nvPr>
            <p:ph type="pic" sz="quarter" idx="17" hasCustomPrompt="1"/>
          </p:nvPr>
        </p:nvSpPr>
        <p:spPr>
          <a:xfrm>
            <a:off x="5173152" y="1905695"/>
            <a:ext cx="1845696" cy="1844418"/>
          </a:xfrm>
        </p:spPr>
        <p:txBody>
          <a:bodyPr>
            <a:normAutofit/>
          </a:bodyPr>
          <a:lstStyle>
            <a:lvl1pPr marL="0" indent="0">
              <a:buNone/>
              <a:defRPr sz="1400" baseline="0">
                <a:solidFill>
                  <a:srgbClr val="00447B"/>
                </a:solidFill>
              </a:defRPr>
            </a:lvl1pPr>
          </a:lstStyle>
          <a:p>
            <a:r>
              <a:rPr lang="en-US" dirty="0"/>
              <a:t>Click icon to insert headshot</a:t>
            </a:r>
          </a:p>
        </p:txBody>
      </p:sp>
      <p:sp>
        <p:nvSpPr>
          <p:cNvPr id="13" name="Picture Placeholder 37"/>
          <p:cNvSpPr>
            <a:spLocks noGrp="1"/>
          </p:cNvSpPr>
          <p:nvPr>
            <p:ph type="pic" sz="quarter" idx="18" hasCustomPrompt="1"/>
          </p:nvPr>
        </p:nvSpPr>
        <p:spPr>
          <a:xfrm>
            <a:off x="8835968" y="1905695"/>
            <a:ext cx="1845696" cy="1844418"/>
          </a:xfrm>
        </p:spPr>
        <p:txBody>
          <a:bodyPr>
            <a:normAutofit/>
          </a:bodyPr>
          <a:lstStyle>
            <a:lvl1pPr marL="0" indent="0">
              <a:buNone/>
              <a:defRPr sz="1400" baseline="0">
                <a:solidFill>
                  <a:srgbClr val="00447B"/>
                </a:solidFill>
              </a:defRPr>
            </a:lvl1pPr>
          </a:lstStyle>
          <a:p>
            <a:r>
              <a:rPr lang="en-US" dirty="0"/>
              <a:t>Click icon to insert headshot</a:t>
            </a:r>
          </a:p>
        </p:txBody>
      </p:sp>
      <p:sp>
        <p:nvSpPr>
          <p:cNvPr id="3" name="Date Placeholder 2"/>
          <p:cNvSpPr>
            <a:spLocks noGrp="1"/>
          </p:cNvSpPr>
          <p:nvPr>
            <p:ph type="dt" sz="half" idx="10"/>
          </p:nvPr>
        </p:nvSpPr>
        <p:spPr/>
        <p:txBody>
          <a:bodyPr/>
          <a:lstStyle/>
          <a:p>
            <a:fld id="{C48ADFD3-F854-41F5-BFAE-93B13FD028EA}" type="datetimeFigureOut">
              <a:rPr lang="en-US" smtClean="0"/>
              <a:t>4/2/2026</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6780B6AC-FBDE-415B-BDC5-8937C05D3A52}" type="slidenum">
              <a:rPr lang="en-US" smtClean="0"/>
              <a:t>‹#›</a:t>
            </a:fld>
            <a:endParaRPr lang="en-US"/>
          </a:p>
        </p:txBody>
      </p:sp>
      <p:sp>
        <p:nvSpPr>
          <p:cNvPr id="38" name="Picture Placeholder 37"/>
          <p:cNvSpPr>
            <a:spLocks noGrp="1"/>
          </p:cNvSpPr>
          <p:nvPr>
            <p:ph type="pic" sz="quarter" idx="13" hasCustomPrompt="1"/>
          </p:nvPr>
        </p:nvSpPr>
        <p:spPr>
          <a:xfrm>
            <a:off x="1530442" y="1905695"/>
            <a:ext cx="1845696" cy="1844418"/>
          </a:xfrm>
        </p:spPr>
        <p:txBody>
          <a:bodyPr>
            <a:normAutofit/>
          </a:bodyPr>
          <a:lstStyle>
            <a:lvl1pPr marL="0" indent="0">
              <a:buNone/>
              <a:defRPr sz="1400" baseline="0">
                <a:solidFill>
                  <a:srgbClr val="00447B"/>
                </a:solidFill>
              </a:defRPr>
            </a:lvl1pPr>
          </a:lstStyle>
          <a:p>
            <a:r>
              <a:rPr lang="en-US" dirty="0"/>
              <a:t>Click icon to insert headshot</a:t>
            </a:r>
          </a:p>
        </p:txBody>
      </p:sp>
      <p:sp>
        <p:nvSpPr>
          <p:cNvPr id="53" name="Title 52"/>
          <p:cNvSpPr>
            <a:spLocks noGrp="1"/>
          </p:cNvSpPr>
          <p:nvPr>
            <p:ph type="title" hasCustomPrompt="1"/>
          </p:nvPr>
        </p:nvSpPr>
        <p:spPr>
          <a:xfrm>
            <a:off x="677636" y="520247"/>
            <a:ext cx="10676164" cy="1125991"/>
          </a:xfrm>
          <a:prstGeom prst="rect">
            <a:avLst/>
          </a:prstGeom>
        </p:spPr>
        <p:txBody>
          <a:bodyPr/>
          <a:lstStyle>
            <a:lvl1pPr>
              <a:defRPr>
                <a:solidFill>
                  <a:schemeClr val="tx2"/>
                </a:solidFill>
              </a:defRPr>
            </a:lvl1pPr>
          </a:lstStyle>
          <a:p>
            <a:r>
              <a:rPr lang="en-US" dirty="0"/>
              <a:t>Team Members</a:t>
            </a:r>
          </a:p>
        </p:txBody>
      </p:sp>
      <p:sp>
        <p:nvSpPr>
          <p:cNvPr id="6" name="Text Placeholder 5"/>
          <p:cNvSpPr>
            <a:spLocks noGrp="1"/>
          </p:cNvSpPr>
          <p:nvPr>
            <p:ph type="body" sz="quarter" idx="19" hasCustomPrompt="1"/>
          </p:nvPr>
        </p:nvSpPr>
        <p:spPr>
          <a:xfrm>
            <a:off x="1409339" y="3820886"/>
            <a:ext cx="2087902" cy="415414"/>
          </a:xfrm>
        </p:spPr>
        <p:txBody>
          <a:bodyPr>
            <a:noAutofit/>
          </a:bodyPr>
          <a:lstStyle>
            <a:lvl1pPr marL="0" indent="0">
              <a:buNone/>
              <a:defRPr sz="2000" baseline="0">
                <a:solidFill>
                  <a:schemeClr val="tx2"/>
                </a:solidFill>
              </a:defRPr>
            </a:lvl1pPr>
          </a:lstStyle>
          <a:p>
            <a:pPr lvl="0"/>
            <a:r>
              <a:rPr lang="en-US" dirty="0"/>
              <a:t>Attorney Name</a:t>
            </a:r>
          </a:p>
        </p:txBody>
      </p:sp>
      <p:sp>
        <p:nvSpPr>
          <p:cNvPr id="19" name="Text Placeholder 5"/>
          <p:cNvSpPr>
            <a:spLocks noGrp="1"/>
          </p:cNvSpPr>
          <p:nvPr>
            <p:ph type="body" sz="quarter" idx="20" hasCustomPrompt="1"/>
          </p:nvPr>
        </p:nvSpPr>
        <p:spPr>
          <a:xfrm>
            <a:off x="1409339" y="4236300"/>
            <a:ext cx="2087902" cy="262221"/>
          </a:xfrm>
        </p:spPr>
        <p:txBody>
          <a:bodyPr>
            <a:noAutofit/>
          </a:bodyPr>
          <a:lstStyle>
            <a:lvl1pPr marL="0" indent="0">
              <a:buNone/>
              <a:defRPr lang="en-US" sz="1600" kern="1200" baseline="0" dirty="0" smtClean="0">
                <a:solidFill>
                  <a:schemeClr val="tx2"/>
                </a:solidFill>
                <a:latin typeface="Arial" panose="020B0604020202020204" pitchFamily="34" charset="0"/>
                <a:ea typeface="+mn-ea"/>
                <a:cs typeface="Arial" panose="020B0604020202020204" pitchFamily="34" charset="0"/>
              </a:defRPr>
            </a:lvl1pPr>
          </a:lstStyle>
          <a:p>
            <a:pPr lvl="0"/>
            <a:r>
              <a:rPr lang="en-US" dirty="0"/>
              <a:t>Title</a:t>
            </a:r>
          </a:p>
        </p:txBody>
      </p:sp>
      <p:sp>
        <p:nvSpPr>
          <p:cNvPr id="23" name="Text Placeholder 5"/>
          <p:cNvSpPr>
            <a:spLocks noGrp="1"/>
          </p:cNvSpPr>
          <p:nvPr>
            <p:ph type="body" sz="quarter" idx="21" hasCustomPrompt="1"/>
          </p:nvPr>
        </p:nvSpPr>
        <p:spPr>
          <a:xfrm>
            <a:off x="1081690" y="4530215"/>
            <a:ext cx="2743201" cy="1234332"/>
          </a:xfrm>
        </p:spPr>
        <p:txBody>
          <a:bodyPr>
            <a:noAutofit/>
          </a:bodyPr>
          <a:lstStyle>
            <a:lvl1pPr marL="0" indent="0">
              <a:lnSpc>
                <a:spcPct val="100000"/>
              </a:lnSpc>
              <a:spcBef>
                <a:spcPts val="200"/>
              </a:spcBef>
              <a:buNone/>
              <a:defRPr sz="1200" baseline="0">
                <a:solidFill>
                  <a:srgbClr val="00447B"/>
                </a:solidFill>
              </a:defRPr>
            </a:lvl1pPr>
          </a:lstStyle>
          <a:p>
            <a:pPr lvl="0"/>
            <a:r>
              <a:rPr lang="en-US" dirty="0"/>
              <a:t>attorney.name@ogletree.com</a:t>
            </a:r>
          </a:p>
          <a:p>
            <a:pPr lvl="0"/>
            <a:r>
              <a:rPr lang="en-US" dirty="0"/>
              <a:t>555-555-5555</a:t>
            </a:r>
          </a:p>
          <a:p>
            <a:pPr lvl="0"/>
            <a:r>
              <a:rPr lang="en-US" dirty="0"/>
              <a:t>555 Address</a:t>
            </a:r>
          </a:p>
          <a:p>
            <a:pPr lvl="0"/>
            <a:r>
              <a:rPr lang="en-US" dirty="0"/>
              <a:t>Atlanta, GA 55555</a:t>
            </a:r>
          </a:p>
        </p:txBody>
      </p:sp>
      <p:sp>
        <p:nvSpPr>
          <p:cNvPr id="25" name="Text Placeholder 5"/>
          <p:cNvSpPr>
            <a:spLocks noGrp="1"/>
          </p:cNvSpPr>
          <p:nvPr>
            <p:ph type="body" sz="quarter" idx="22" hasCustomPrompt="1"/>
          </p:nvPr>
        </p:nvSpPr>
        <p:spPr>
          <a:xfrm>
            <a:off x="5052049" y="3820885"/>
            <a:ext cx="2087902" cy="415414"/>
          </a:xfrm>
        </p:spPr>
        <p:txBody>
          <a:bodyPr>
            <a:noAutofit/>
          </a:bodyPr>
          <a:lstStyle>
            <a:lvl1pPr marL="0" indent="0">
              <a:buNone/>
              <a:defRPr lang="en-US" sz="2000" kern="1200" baseline="0" dirty="0" smtClean="0">
                <a:solidFill>
                  <a:schemeClr val="tx2"/>
                </a:solidFill>
                <a:latin typeface="Arial" panose="020B0604020202020204" pitchFamily="34" charset="0"/>
                <a:ea typeface="+mn-ea"/>
                <a:cs typeface="Arial" panose="020B0604020202020204" pitchFamily="34" charset="0"/>
              </a:defRPr>
            </a:lvl1pPr>
          </a:lstStyle>
          <a:p>
            <a:pPr lvl="0"/>
            <a:r>
              <a:rPr lang="en-US" dirty="0"/>
              <a:t>Attorney Name</a:t>
            </a:r>
          </a:p>
        </p:txBody>
      </p:sp>
      <p:sp>
        <p:nvSpPr>
          <p:cNvPr id="26" name="Text Placeholder 5"/>
          <p:cNvSpPr>
            <a:spLocks noGrp="1"/>
          </p:cNvSpPr>
          <p:nvPr>
            <p:ph type="body" sz="quarter" idx="23" hasCustomPrompt="1"/>
          </p:nvPr>
        </p:nvSpPr>
        <p:spPr>
          <a:xfrm>
            <a:off x="5052049" y="4236299"/>
            <a:ext cx="2087902" cy="262221"/>
          </a:xfrm>
        </p:spPr>
        <p:txBody>
          <a:bodyPr>
            <a:noAutofit/>
          </a:bodyPr>
          <a:lstStyle>
            <a:lvl1pPr marL="0" indent="0">
              <a:buNone/>
              <a:defRPr lang="en-US" sz="1600" kern="1200" baseline="0" dirty="0" smtClean="0">
                <a:solidFill>
                  <a:schemeClr val="tx2"/>
                </a:solidFill>
                <a:latin typeface="Arial" panose="020B0604020202020204" pitchFamily="34" charset="0"/>
                <a:ea typeface="+mn-ea"/>
                <a:cs typeface="Arial" panose="020B0604020202020204" pitchFamily="34" charset="0"/>
              </a:defRPr>
            </a:lvl1pPr>
          </a:lstStyle>
          <a:p>
            <a:pPr lvl="0"/>
            <a:r>
              <a:rPr lang="en-US" dirty="0"/>
              <a:t>Title</a:t>
            </a:r>
          </a:p>
        </p:txBody>
      </p:sp>
      <p:sp>
        <p:nvSpPr>
          <p:cNvPr id="27" name="Text Placeholder 5"/>
          <p:cNvSpPr>
            <a:spLocks noGrp="1"/>
          </p:cNvSpPr>
          <p:nvPr>
            <p:ph type="body" sz="quarter" idx="24" hasCustomPrompt="1"/>
          </p:nvPr>
        </p:nvSpPr>
        <p:spPr>
          <a:xfrm>
            <a:off x="4724400" y="4530214"/>
            <a:ext cx="2743200" cy="1234332"/>
          </a:xfrm>
        </p:spPr>
        <p:txBody>
          <a:bodyPr>
            <a:noAutofit/>
          </a:bodyPr>
          <a:lstStyle>
            <a:lvl1pPr marL="0" indent="0">
              <a:lnSpc>
                <a:spcPct val="100000"/>
              </a:lnSpc>
              <a:spcBef>
                <a:spcPts val="200"/>
              </a:spcBef>
              <a:buNone/>
              <a:defRPr sz="1200" baseline="0">
                <a:solidFill>
                  <a:srgbClr val="00447B"/>
                </a:solidFill>
              </a:defRPr>
            </a:lvl1pPr>
          </a:lstStyle>
          <a:p>
            <a:pPr lvl="0"/>
            <a:r>
              <a:rPr lang="en-US" dirty="0"/>
              <a:t>attorney.name@ogletree.com</a:t>
            </a:r>
          </a:p>
          <a:p>
            <a:pPr lvl="0"/>
            <a:r>
              <a:rPr lang="en-US" dirty="0"/>
              <a:t>555-555-5555</a:t>
            </a:r>
          </a:p>
          <a:p>
            <a:pPr lvl="0"/>
            <a:r>
              <a:rPr lang="en-US" dirty="0"/>
              <a:t>555 Address</a:t>
            </a:r>
          </a:p>
          <a:p>
            <a:pPr lvl="0"/>
            <a:r>
              <a:rPr lang="en-US" dirty="0"/>
              <a:t>Atlanta, GA 55555</a:t>
            </a:r>
          </a:p>
        </p:txBody>
      </p:sp>
      <p:sp>
        <p:nvSpPr>
          <p:cNvPr id="29" name="Text Placeholder 5"/>
          <p:cNvSpPr>
            <a:spLocks noGrp="1"/>
          </p:cNvSpPr>
          <p:nvPr>
            <p:ph type="body" sz="quarter" idx="25" hasCustomPrompt="1"/>
          </p:nvPr>
        </p:nvSpPr>
        <p:spPr>
          <a:xfrm>
            <a:off x="8730210" y="3820884"/>
            <a:ext cx="2087902" cy="415414"/>
          </a:xfrm>
        </p:spPr>
        <p:txBody>
          <a:bodyPr>
            <a:noAutofit/>
          </a:bodyPr>
          <a:lstStyle>
            <a:lvl1pPr marL="0" indent="0">
              <a:buNone/>
              <a:defRPr sz="2000" baseline="0">
                <a:solidFill>
                  <a:schemeClr val="tx2"/>
                </a:solidFill>
              </a:defRPr>
            </a:lvl1pPr>
          </a:lstStyle>
          <a:p>
            <a:pPr lvl="0"/>
            <a:r>
              <a:rPr lang="en-US" dirty="0"/>
              <a:t>Attorney Name</a:t>
            </a:r>
          </a:p>
        </p:txBody>
      </p:sp>
      <p:sp>
        <p:nvSpPr>
          <p:cNvPr id="30" name="Text Placeholder 5"/>
          <p:cNvSpPr>
            <a:spLocks noGrp="1"/>
          </p:cNvSpPr>
          <p:nvPr>
            <p:ph type="body" sz="quarter" idx="26" hasCustomPrompt="1"/>
          </p:nvPr>
        </p:nvSpPr>
        <p:spPr>
          <a:xfrm>
            <a:off x="8730210" y="4236298"/>
            <a:ext cx="2087902" cy="262221"/>
          </a:xfrm>
        </p:spPr>
        <p:txBody>
          <a:bodyPr>
            <a:noAutofit/>
          </a:bodyPr>
          <a:lstStyle>
            <a:lvl1pPr marL="0" indent="0">
              <a:buNone/>
              <a:defRPr sz="1600" baseline="0">
                <a:solidFill>
                  <a:schemeClr val="tx2"/>
                </a:solidFill>
              </a:defRPr>
            </a:lvl1pPr>
          </a:lstStyle>
          <a:p>
            <a:pPr lvl="0"/>
            <a:r>
              <a:rPr lang="en-US" dirty="0"/>
              <a:t>Title</a:t>
            </a:r>
          </a:p>
        </p:txBody>
      </p:sp>
      <p:sp>
        <p:nvSpPr>
          <p:cNvPr id="31" name="Text Placeholder 5"/>
          <p:cNvSpPr>
            <a:spLocks noGrp="1"/>
          </p:cNvSpPr>
          <p:nvPr>
            <p:ph type="body" sz="quarter" idx="27" hasCustomPrompt="1"/>
          </p:nvPr>
        </p:nvSpPr>
        <p:spPr>
          <a:xfrm>
            <a:off x="8387216" y="4530213"/>
            <a:ext cx="2743200" cy="1234332"/>
          </a:xfrm>
        </p:spPr>
        <p:txBody>
          <a:bodyPr>
            <a:noAutofit/>
          </a:bodyPr>
          <a:lstStyle>
            <a:lvl1pPr marL="0" indent="0">
              <a:lnSpc>
                <a:spcPct val="100000"/>
              </a:lnSpc>
              <a:spcBef>
                <a:spcPts val="200"/>
              </a:spcBef>
              <a:buNone/>
              <a:defRPr sz="1200" baseline="0">
                <a:solidFill>
                  <a:srgbClr val="00447B"/>
                </a:solidFill>
              </a:defRPr>
            </a:lvl1pPr>
          </a:lstStyle>
          <a:p>
            <a:pPr lvl="0"/>
            <a:r>
              <a:rPr lang="en-US" dirty="0"/>
              <a:t>attorney.name@ogletree.com</a:t>
            </a:r>
          </a:p>
          <a:p>
            <a:pPr lvl="0"/>
            <a:r>
              <a:rPr lang="en-US" dirty="0"/>
              <a:t>555-555-5555</a:t>
            </a:r>
          </a:p>
          <a:p>
            <a:pPr lvl="0"/>
            <a:r>
              <a:rPr lang="en-US" dirty="0"/>
              <a:t>555 Address</a:t>
            </a:r>
          </a:p>
          <a:p>
            <a:pPr lvl="0"/>
            <a:r>
              <a:rPr lang="en-US" dirty="0"/>
              <a:t>Atlanta, GA 55555</a:t>
            </a:r>
          </a:p>
        </p:txBody>
      </p:sp>
      <p:pic>
        <p:nvPicPr>
          <p:cNvPr id="20" name="Picture 19"/>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1142397" y="6146640"/>
            <a:ext cx="838422" cy="483395"/>
          </a:xfrm>
          <a:prstGeom prst="rect">
            <a:avLst/>
          </a:prstGeom>
        </p:spPr>
      </p:pic>
    </p:spTree>
    <p:extLst>
      <p:ext uri="{BB962C8B-B14F-4D97-AF65-F5344CB8AC3E}">
        <p14:creationId xmlns:p14="http://schemas.microsoft.com/office/powerpoint/2010/main" val="34181667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Rectangle 9"/>
          <p:cNvSpPr/>
          <p:nvPr userDrawn="1"/>
        </p:nvSpPr>
        <p:spPr>
          <a:xfrm>
            <a:off x="-3047" y="1681163"/>
            <a:ext cx="6099048" cy="4508500"/>
          </a:xfrm>
          <a:prstGeom prst="rect">
            <a:avLst/>
          </a:prstGeom>
          <a:solidFill>
            <a:schemeClr val="tx2"/>
          </a:solidFill>
          <a:ln>
            <a:noFill/>
          </a:ln>
          <a:effectLst>
            <a:innerShdw blurRad="114300" dist="38100" dir="5400000">
              <a:prstClr val="black">
                <a:alpha val="75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1" name="Rectangle 10"/>
          <p:cNvSpPr/>
          <p:nvPr userDrawn="1"/>
        </p:nvSpPr>
        <p:spPr>
          <a:xfrm>
            <a:off x="6092952" y="1681163"/>
            <a:ext cx="6099048" cy="4508500"/>
          </a:xfrm>
          <a:prstGeom prst="rect">
            <a:avLst/>
          </a:prstGeom>
          <a:solidFill>
            <a:srgbClr val="99BCE4"/>
          </a:solidFill>
          <a:ln>
            <a:noFill/>
          </a:ln>
          <a:effectLst>
            <a:innerShdw blurRad="114300" dist="38100" dir="5400000">
              <a:prstClr val="black">
                <a:alpha val="75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 name="Title 1"/>
          <p:cNvSpPr>
            <a:spLocks noGrp="1"/>
          </p:cNvSpPr>
          <p:nvPr>
            <p:ph type="title"/>
          </p:nvPr>
        </p:nvSpPr>
        <p:spPr>
          <a:xfrm>
            <a:off x="839788" y="365125"/>
            <a:ext cx="10515600" cy="1325563"/>
          </a:xfrm>
          <a:prstGeom prst="rect">
            <a:avLst/>
          </a:prstGeom>
        </p:spPr>
        <p:txBody>
          <a:bodyPr/>
          <a:lstStyle/>
          <a:p>
            <a:r>
              <a:rPr lang="en-US" dirty="0"/>
              <a:t>Click to edit Master title style</a:t>
            </a:r>
          </a:p>
        </p:txBody>
      </p:sp>
      <p:sp>
        <p:nvSpPr>
          <p:cNvPr id="3" name="Text Placeholder 2"/>
          <p:cNvSpPr>
            <a:spLocks noGrp="1"/>
          </p:cNvSpPr>
          <p:nvPr>
            <p:ph type="body" idx="1" hasCustomPrompt="1"/>
          </p:nvPr>
        </p:nvSpPr>
        <p:spPr>
          <a:xfrm>
            <a:off x="839788" y="1681163"/>
            <a:ext cx="5157787" cy="823912"/>
          </a:xfrm>
        </p:spPr>
        <p:txBody>
          <a:bodyPr anchor="b">
            <a:normAutofit/>
          </a:bodyPr>
          <a:lstStyle>
            <a:lvl1pPr marL="0" indent="0">
              <a:buNone/>
              <a:defRPr sz="3200" b="0">
                <a:solidFill>
                  <a:srgbClr val="99BCE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oint 1</a:t>
            </a:r>
          </a:p>
        </p:txBody>
      </p:sp>
      <p:sp>
        <p:nvSpPr>
          <p:cNvPr id="4" name="Content Placeholder 3"/>
          <p:cNvSpPr>
            <a:spLocks noGrp="1"/>
          </p:cNvSpPr>
          <p:nvPr>
            <p:ph sz="half" idx="2"/>
          </p:nvPr>
        </p:nvSpPr>
        <p:spPr>
          <a:xfrm>
            <a:off x="839788" y="2505075"/>
            <a:ext cx="5157787" cy="368458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hasCustomPrompt="1"/>
          </p:nvPr>
        </p:nvSpPr>
        <p:spPr>
          <a:xfrm>
            <a:off x="6172200" y="1681163"/>
            <a:ext cx="5183188" cy="823912"/>
          </a:xfrm>
        </p:spPr>
        <p:txBody>
          <a:bodyPr anchor="b">
            <a:normAutofit/>
          </a:bodyPr>
          <a:lstStyle>
            <a:lvl1pPr marL="0" indent="0">
              <a:buNone/>
              <a:defRPr sz="3200" b="0">
                <a:solidFill>
                  <a:srgbClr val="00447B"/>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oint 2</a:t>
            </a:r>
          </a:p>
        </p:txBody>
      </p:sp>
      <p:sp>
        <p:nvSpPr>
          <p:cNvPr id="6" name="Content Placeholder 5"/>
          <p:cNvSpPr>
            <a:spLocks noGrp="1"/>
          </p:cNvSpPr>
          <p:nvPr>
            <p:ph sz="quarter" idx="4"/>
          </p:nvPr>
        </p:nvSpPr>
        <p:spPr>
          <a:xfrm>
            <a:off x="6172200" y="2505075"/>
            <a:ext cx="5183188" cy="368458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C48ADFD3-F854-41F5-BFAE-93B13FD028EA}" type="datetimeFigureOut">
              <a:rPr lang="en-US" smtClean="0"/>
              <a:t>4/2/2026</a:t>
            </a:fld>
            <a:endParaRPr lang="en-US"/>
          </a:p>
        </p:txBody>
      </p:sp>
      <p:sp>
        <p:nvSpPr>
          <p:cNvPr id="8" name="Footer Placeholder 7"/>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6780B6AC-FBDE-415B-BDC5-8937C05D3A52}" type="slidenum">
              <a:rPr lang="en-US" smtClean="0"/>
              <a:t>‹#›</a:t>
            </a:fld>
            <a:endParaRPr lang="en-US"/>
          </a:p>
        </p:txBody>
      </p:sp>
    </p:spTree>
    <p:extLst>
      <p:ext uri="{BB962C8B-B14F-4D97-AF65-F5344CB8AC3E}">
        <p14:creationId xmlns:p14="http://schemas.microsoft.com/office/powerpoint/2010/main" val="7016314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About the Firm">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b="7597"/>
          <a:stretch/>
        </p:blipFill>
        <p:spPr>
          <a:xfrm>
            <a:off x="0" y="520996"/>
            <a:ext cx="12199620" cy="6337005"/>
          </a:xfrm>
          <a:prstGeom prst="rect">
            <a:avLst/>
          </a:prstGeom>
        </p:spPr>
      </p:pic>
      <p:sp>
        <p:nvSpPr>
          <p:cNvPr id="3" name="Date Placeholder 2"/>
          <p:cNvSpPr>
            <a:spLocks noGrp="1"/>
          </p:cNvSpPr>
          <p:nvPr>
            <p:ph type="dt" sz="half" idx="10"/>
          </p:nvPr>
        </p:nvSpPr>
        <p:spPr/>
        <p:txBody>
          <a:bodyPr/>
          <a:lstStyle/>
          <a:p>
            <a:fld id="{C48ADFD3-F854-41F5-BFAE-93B13FD028EA}" type="datetimeFigureOut">
              <a:rPr lang="en-US" smtClean="0"/>
              <a:t>4/2/2026</a:t>
            </a:fld>
            <a:endParaRPr lang="en-US"/>
          </a:p>
        </p:txBody>
      </p:sp>
      <p:sp>
        <p:nvSpPr>
          <p:cNvPr id="7" name="TextBox 6"/>
          <p:cNvSpPr txBox="1"/>
          <p:nvPr userDrawn="1"/>
        </p:nvSpPr>
        <p:spPr>
          <a:xfrm>
            <a:off x="2386373" y="1471099"/>
            <a:ext cx="7409380" cy="5067813"/>
          </a:xfrm>
          <a:prstGeom prst="rect">
            <a:avLst/>
          </a:prstGeom>
          <a:noFill/>
        </p:spPr>
        <p:txBody>
          <a:bodyPr wrap="square" rtlCol="0">
            <a:noAutofit/>
          </a:bodyPr>
          <a:lstStyle/>
          <a:p>
            <a:pPr lvl="0" algn="ctr"/>
            <a:r>
              <a:rPr lang="en-US" sz="2400" dirty="0">
                <a:solidFill>
                  <a:schemeClr val="tx2"/>
                </a:solidFill>
                <a:latin typeface="Arial" panose="020B0604020202020204" pitchFamily="34" charset="0"/>
                <a:cs typeface="Arial" panose="020B0604020202020204" pitchFamily="34" charset="0"/>
              </a:rPr>
              <a:t>Ogletree Deakins is one of the largest labor and employment law firms representing management in all types of employment-related legal matters. </a:t>
            </a:r>
          </a:p>
          <a:p>
            <a:pPr lvl="0" algn="ctr"/>
            <a:endParaRPr lang="en-US" sz="1200" dirty="0">
              <a:solidFill>
                <a:schemeClr val="tx2"/>
              </a:solidFill>
              <a:latin typeface="Arial" panose="020B0604020202020204" pitchFamily="34" charset="0"/>
              <a:cs typeface="Arial" panose="020B0604020202020204" pitchFamily="34" charset="0"/>
            </a:endParaRPr>
          </a:p>
          <a:p>
            <a:pPr lvl="0" algn="ctr"/>
            <a:r>
              <a:rPr lang="en-US" sz="2400" dirty="0">
                <a:solidFill>
                  <a:schemeClr val="tx2"/>
                </a:solidFill>
                <a:latin typeface="Arial" panose="020B0604020202020204" pitchFamily="34" charset="0"/>
                <a:cs typeface="Arial" panose="020B0604020202020204" pitchFamily="34" charset="0"/>
              </a:rPr>
              <a:t>The firm has more than 1100 attorneys located in </a:t>
            </a:r>
            <a:br>
              <a:rPr lang="en-US" sz="2400" dirty="0">
                <a:solidFill>
                  <a:schemeClr val="tx2"/>
                </a:solidFill>
                <a:latin typeface="Arial" panose="020B0604020202020204" pitchFamily="34" charset="0"/>
                <a:cs typeface="Arial" panose="020B0604020202020204" pitchFamily="34" charset="0"/>
              </a:rPr>
            </a:br>
            <a:r>
              <a:rPr lang="en-US" sz="2400" dirty="0">
                <a:solidFill>
                  <a:schemeClr val="tx2"/>
                </a:solidFill>
                <a:latin typeface="Arial" panose="020B0604020202020204" pitchFamily="34" charset="0"/>
                <a:cs typeface="Arial" panose="020B0604020202020204" pitchFamily="34" charset="0"/>
              </a:rPr>
              <a:t>60 offices across the United States and in Europe, Canada, and Mexico. </a:t>
            </a:r>
          </a:p>
          <a:p>
            <a:pPr lvl="0" algn="ctr"/>
            <a:endParaRPr lang="en-US" sz="1200" dirty="0">
              <a:solidFill>
                <a:schemeClr val="tx2"/>
              </a:solidFill>
              <a:latin typeface="Arial" panose="020B0604020202020204" pitchFamily="34" charset="0"/>
              <a:cs typeface="Arial" panose="020B0604020202020204" pitchFamily="34" charset="0"/>
            </a:endParaRPr>
          </a:p>
          <a:p>
            <a:pPr lvl="0" algn="ctr"/>
            <a:r>
              <a:rPr lang="en-US" sz="2400" dirty="0">
                <a:solidFill>
                  <a:schemeClr val="tx2"/>
                </a:solidFill>
                <a:latin typeface="Arial" panose="020B0604020202020204" pitchFamily="34" charset="0"/>
                <a:cs typeface="Arial" panose="020B0604020202020204" pitchFamily="34" charset="0"/>
              </a:rPr>
              <a:t>We represent a diverse range of clients, from small businesses to Fortune 50 companies.</a:t>
            </a:r>
          </a:p>
        </p:txBody>
      </p:sp>
      <p:sp>
        <p:nvSpPr>
          <p:cNvPr id="12" name="Rectangle 11"/>
          <p:cNvSpPr/>
          <p:nvPr userDrawn="1"/>
        </p:nvSpPr>
        <p:spPr>
          <a:xfrm>
            <a:off x="2743288" y="321014"/>
            <a:ext cx="6695551" cy="830997"/>
          </a:xfrm>
          <a:prstGeom prst="rect">
            <a:avLst/>
          </a:prstGeom>
        </p:spPr>
        <p:txBody>
          <a:bodyPr wrap="square">
            <a:spAutoFit/>
          </a:bodyPr>
          <a:lstStyle/>
          <a:p>
            <a:pPr algn="ctr"/>
            <a:r>
              <a:rPr kumimoji="0" lang="en-US" sz="4800" b="0" i="0" u="none" strike="noStrike" kern="1200" cap="none" spc="0" normalizeH="0" baseline="0" noProof="0" dirty="0">
                <a:ln>
                  <a:noFill/>
                </a:ln>
                <a:solidFill>
                  <a:srgbClr val="00447B"/>
                </a:solidFill>
                <a:effectLst/>
                <a:uLnTx/>
                <a:uFillTx/>
                <a:latin typeface="Arial" panose="020B0604020202020204" pitchFamily="34" charset="0"/>
                <a:ea typeface="+mj-ea"/>
                <a:cs typeface="Arial" panose="020B0604020202020204" pitchFamily="34" charset="0"/>
              </a:rPr>
              <a:t>About the Firm</a:t>
            </a:r>
            <a:endParaRPr lang="en-US" sz="2400" b="0" dirty="0">
              <a:solidFill>
                <a:srgbClr val="00447B"/>
              </a:solidFill>
              <a:latin typeface="Arial" panose="020B0604020202020204" pitchFamily="34" charset="0"/>
              <a:cs typeface="Arial" panose="020B0604020202020204" pitchFamily="34" charset="0"/>
            </a:endParaRP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312728" y="5540027"/>
            <a:ext cx="1415869" cy="816323"/>
          </a:xfrm>
          <a:prstGeom prst="rect">
            <a:avLst/>
          </a:prstGeom>
        </p:spPr>
      </p:pic>
    </p:spTree>
    <p:extLst>
      <p:ext uri="{BB962C8B-B14F-4D97-AF65-F5344CB8AC3E}">
        <p14:creationId xmlns:p14="http://schemas.microsoft.com/office/powerpoint/2010/main" val="28528164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jp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7"/>
            </p:custDataLst>
            <p:extLst>
              <p:ext uri="{D42A27DB-BD31-4B8C-83A1-F6EECF244321}">
                <p14:modId xmlns:p14="http://schemas.microsoft.com/office/powerpoint/2010/main" val="1757936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348" imgH="346" progId="TCLayout.ActiveDocument.1">
                  <p:embed/>
                </p:oleObj>
              </mc:Choice>
              <mc:Fallback>
                <p:oleObj name="think-cell Slide" r:id="rId29" imgW="348" imgH="346" progId="TCLayout.ActiveDocument.1">
                  <p:embed/>
                  <p:pic>
                    <p:nvPicPr>
                      <p:cNvPr id="6" name="Object 5" hidden="1"/>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4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2" name="Picture 1"/>
          <p:cNvPicPr>
            <a:picLocks noChangeAspect="1"/>
          </p:cNvPicPr>
          <p:nvPr userDrawn="1"/>
        </p:nvPicPr>
        <p:blipFill>
          <a:blip r:embed="rId31">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Text Placeholder 2"/>
          <p:cNvSpPr>
            <a:spLocks noGrp="1"/>
          </p:cNvSpPr>
          <p:nvPr>
            <p:ph type="body" idx="1"/>
          </p:nvPr>
        </p:nvSpPr>
        <p:spPr>
          <a:xfrm>
            <a:off x="677636" y="1530433"/>
            <a:ext cx="10676164" cy="464653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77636"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fld id="{C48ADFD3-F854-41F5-BFAE-93B13FD028EA}" type="datetimeFigureOut">
              <a:rPr lang="en-US" smtClean="0"/>
              <a:pPr/>
              <a:t>4/2/2026</a:t>
            </a:fld>
            <a:endParaRPr lang="en-US" dirty="0"/>
          </a:p>
        </p:txBody>
      </p:sp>
      <p:sp>
        <p:nvSpPr>
          <p:cNvPr id="8" name="Footer Placeholder 4"/>
          <p:cNvSpPr>
            <a:spLocks noGrp="1"/>
          </p:cNvSpPr>
          <p:nvPr>
            <p:ph type="ftr" sz="quarter" idx="3"/>
          </p:nvPr>
        </p:nvSpPr>
        <p:spPr>
          <a:xfrm>
            <a:off x="4038600" y="6356350"/>
            <a:ext cx="4114800" cy="365125"/>
          </a:xfrm>
          <a:prstGeom prst="rect">
            <a:avLst/>
          </a:prstGeom>
        </p:spPr>
        <p:txBody>
          <a:bodyPr anchor="ctr"/>
          <a:lstStyle>
            <a:lvl1pPr>
              <a:defRPr lang="en-US" sz="1200" kern="1200">
                <a:solidFill>
                  <a:schemeClr val="tx1">
                    <a:tint val="75000"/>
                  </a:schemeClr>
                </a:solidFill>
                <a:latin typeface="Arial" panose="020B0604020202020204" pitchFamily="34" charset="0"/>
                <a:ea typeface="+mn-ea"/>
                <a:cs typeface="Arial" panose="020B0604020202020204" pitchFamily="34" charset="0"/>
              </a:defRPr>
            </a:lvl1pPr>
          </a:lstStyle>
          <a:p>
            <a:endParaRPr lang="en-US" dirty="0"/>
          </a:p>
        </p:txBody>
      </p:sp>
      <p:sp>
        <p:nvSpPr>
          <p:cNvPr id="10" name="Slide Number Placeholder 5"/>
          <p:cNvSpPr>
            <a:spLocks noGrp="1"/>
          </p:cNvSpPr>
          <p:nvPr>
            <p:ph type="sldNum" sz="quarter" idx="4"/>
          </p:nvPr>
        </p:nvSpPr>
        <p:spPr>
          <a:xfrm>
            <a:off x="8610600" y="6356350"/>
            <a:ext cx="2743200" cy="365125"/>
          </a:xfrm>
          <a:prstGeom prst="rect">
            <a:avLst/>
          </a:prstGeom>
        </p:spPr>
        <p:txBody>
          <a:bodyPr anchor="ctr"/>
          <a:lstStyle>
            <a:lvl1pPr>
              <a:defRPr lang="en-US" sz="1200" kern="1200" smtClean="0">
                <a:solidFill>
                  <a:schemeClr val="tx1">
                    <a:tint val="75000"/>
                  </a:schemeClr>
                </a:solidFill>
                <a:latin typeface="Arial" panose="020B0604020202020204" pitchFamily="34" charset="0"/>
                <a:ea typeface="+mn-ea"/>
                <a:cs typeface="Arial" panose="020B0604020202020204" pitchFamily="34" charset="0"/>
              </a:defRPr>
            </a:lvl1pPr>
          </a:lstStyle>
          <a:p>
            <a:fld id="{6780B6AC-FBDE-415B-BDC5-8937C05D3A52}" type="slidenum">
              <a:rPr lang="en-US" smtClean="0"/>
              <a:pPr/>
              <a:t>‹#›</a:t>
            </a:fld>
            <a:endParaRPr lang="en-US" dirty="0"/>
          </a:p>
        </p:txBody>
      </p:sp>
      <p:sp>
        <p:nvSpPr>
          <p:cNvPr id="11" name="Title Placeholder 10"/>
          <p:cNvSpPr>
            <a:spLocks noGrp="1"/>
          </p:cNvSpPr>
          <p:nvPr>
            <p:ph type="title"/>
          </p:nvPr>
        </p:nvSpPr>
        <p:spPr>
          <a:xfrm>
            <a:off x="677636" y="204870"/>
            <a:ext cx="10515600" cy="1325563"/>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377147701"/>
      </p:ext>
    </p:extLst>
  </p:cSld>
  <p:clrMap bg1="lt1" tx1="dk1" bg2="lt2" tx2="dk2" accent1="accent1" accent2="accent2" accent3="accent3" accent4="accent4" accent5="accent5" accent6="accent6" hlink="hlink" folHlink="folHlink"/>
  <p:sldLayoutIdLst>
    <p:sldLayoutId id="2147483687" r:id="rId1"/>
    <p:sldLayoutId id="2147483650" r:id="rId2"/>
    <p:sldLayoutId id="2147483684" r:id="rId3"/>
    <p:sldLayoutId id="2147483651" r:id="rId4"/>
    <p:sldLayoutId id="2147483688" r:id="rId5"/>
    <p:sldLayoutId id="2147483676" r:id="rId6"/>
    <p:sldLayoutId id="2147483665" r:id="rId7"/>
    <p:sldLayoutId id="2147483653" r:id="rId8"/>
    <p:sldLayoutId id="2147483681" r:id="rId9"/>
    <p:sldLayoutId id="2147483685" r:id="rId10"/>
    <p:sldLayoutId id="2147483682" r:id="rId11"/>
    <p:sldLayoutId id="2147483723" r:id="rId12"/>
    <p:sldLayoutId id="2147483686" r:id="rId13"/>
    <p:sldLayoutId id="2147483663" r:id="rId14"/>
    <p:sldLayoutId id="2147483657" r:id="rId15"/>
    <p:sldLayoutId id="2147483671" r:id="rId16"/>
    <p:sldLayoutId id="2147483672" r:id="rId17"/>
    <p:sldLayoutId id="2147483670" r:id="rId18"/>
    <p:sldLayoutId id="2147483680" r:id="rId19"/>
    <p:sldLayoutId id="2147483674" r:id="rId20"/>
    <p:sldLayoutId id="2147483675" r:id="rId21"/>
    <p:sldLayoutId id="2147483655" r:id="rId22"/>
    <p:sldLayoutId id="2147483662" r:id="rId23"/>
    <p:sldLayoutId id="2147483683" r:id="rId24"/>
    <p:sldLayoutId id="2147483673" r:id="rId2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sz="4400" b="0" kern="1200">
          <a:solidFill>
            <a:srgbClr val="00447B"/>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hyperlink" Target="mailto:karen.baillie@ogletree.com" TargetMode="Externa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482198" y="3343547"/>
            <a:ext cx="7685315" cy="2341261"/>
          </a:xfrm>
        </p:spPr>
        <p:txBody>
          <a:bodyPr>
            <a:normAutofit fontScale="92500" lnSpcReduction="20000"/>
          </a:bodyPr>
          <a:lstStyle/>
          <a:p>
            <a:r>
              <a:rPr lang="en-US" dirty="0"/>
              <a:t>Karen Baillie, Shareholder</a:t>
            </a:r>
          </a:p>
          <a:p>
            <a:r>
              <a:rPr lang="en-US" dirty="0"/>
              <a:t>Ogletree Deakins</a:t>
            </a:r>
          </a:p>
          <a:p>
            <a:r>
              <a:rPr lang="en-US" dirty="0">
                <a:hlinkClick r:id="rId2">
                  <a:extLst>
                    <a:ext uri="{A12FA001-AC4F-418D-AE19-62706E023703}">
                      <ahyp:hlinkClr xmlns:ahyp="http://schemas.microsoft.com/office/drawing/2018/hyperlinkcolor" val="tx"/>
                    </a:ext>
                  </a:extLst>
                </a:hlinkClick>
              </a:rPr>
              <a:t>karen.baillie@ogletree.com</a:t>
            </a:r>
            <a:endParaRPr lang="en-US" dirty="0"/>
          </a:p>
          <a:p>
            <a:r>
              <a:rPr lang="en-US" dirty="0"/>
              <a:t>(412) 246-1058</a:t>
            </a:r>
          </a:p>
          <a:p>
            <a:r>
              <a:rPr lang="en-US" dirty="0"/>
              <a:t>April 10, 2026</a:t>
            </a:r>
          </a:p>
        </p:txBody>
      </p:sp>
      <p:sp>
        <p:nvSpPr>
          <p:cNvPr id="3" name="Text Placeholder 2"/>
          <p:cNvSpPr>
            <a:spLocks noGrp="1"/>
          </p:cNvSpPr>
          <p:nvPr>
            <p:ph type="body" sz="quarter" idx="14"/>
          </p:nvPr>
        </p:nvSpPr>
        <p:spPr/>
        <p:txBody>
          <a:bodyPr>
            <a:normAutofit lnSpcReduction="10000"/>
          </a:bodyPr>
          <a:lstStyle/>
          <a:p>
            <a:endParaRPr lang="en-US" dirty="0"/>
          </a:p>
        </p:txBody>
      </p:sp>
      <p:sp>
        <p:nvSpPr>
          <p:cNvPr id="4" name="Text Placeholder 3"/>
          <p:cNvSpPr>
            <a:spLocks noGrp="1"/>
          </p:cNvSpPr>
          <p:nvPr>
            <p:ph type="body" sz="quarter" idx="15"/>
          </p:nvPr>
        </p:nvSpPr>
        <p:spPr>
          <a:xfrm>
            <a:off x="482198" y="1"/>
            <a:ext cx="11361870" cy="1906437"/>
          </a:xfrm>
        </p:spPr>
        <p:txBody>
          <a:bodyPr>
            <a:normAutofit/>
          </a:bodyPr>
          <a:lstStyle/>
          <a:p>
            <a:r>
              <a:rPr lang="en-US" sz="3600" dirty="0"/>
              <a:t>Are We Still in Field Goal Range?</a:t>
            </a:r>
          </a:p>
          <a:p>
            <a:r>
              <a:rPr lang="en-US" sz="3600" dirty="0"/>
              <a:t>Best Practices for Accommodating Disabilities</a:t>
            </a:r>
          </a:p>
        </p:txBody>
      </p:sp>
    </p:spTree>
    <p:extLst>
      <p:ext uri="{BB962C8B-B14F-4D97-AF65-F5344CB8AC3E}">
        <p14:creationId xmlns:p14="http://schemas.microsoft.com/office/powerpoint/2010/main" val="27354986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49B8F-A29E-F346-55B8-561E810B9BA5}"/>
              </a:ext>
            </a:extLst>
          </p:cNvPr>
          <p:cNvSpPr>
            <a:spLocks noGrp="1"/>
          </p:cNvSpPr>
          <p:nvPr>
            <p:ph type="title"/>
          </p:nvPr>
        </p:nvSpPr>
        <p:spPr/>
        <p:txBody>
          <a:bodyPr>
            <a:normAutofit fontScale="90000"/>
          </a:bodyPr>
          <a:lstStyle/>
          <a:p>
            <a:r>
              <a:rPr lang="en-US" sz="3600" b="1" dirty="0"/>
              <a:t>Legal Landscape for Accommodating Disabilities</a:t>
            </a:r>
          </a:p>
        </p:txBody>
      </p:sp>
      <p:sp>
        <p:nvSpPr>
          <p:cNvPr id="3" name="Content Placeholder 2">
            <a:extLst>
              <a:ext uri="{FF2B5EF4-FFF2-40B4-BE49-F238E27FC236}">
                <a16:creationId xmlns:a16="http://schemas.microsoft.com/office/drawing/2014/main" id="{FCC4D8D0-FA01-2554-B8D6-FE16F31CB96A}"/>
              </a:ext>
            </a:extLst>
          </p:cNvPr>
          <p:cNvSpPr>
            <a:spLocks noGrp="1"/>
          </p:cNvSpPr>
          <p:nvPr>
            <p:ph idx="1"/>
          </p:nvPr>
        </p:nvSpPr>
        <p:spPr/>
        <p:txBody>
          <a:bodyPr/>
          <a:lstStyle/>
          <a:p>
            <a:r>
              <a:rPr lang="en-US" altLang="en-US" dirty="0">
                <a:solidFill>
                  <a:schemeClr val="tx1"/>
                </a:solidFill>
              </a:rPr>
              <a:t>Employers must engage in an individualized interactive process to determine:</a:t>
            </a:r>
          </a:p>
          <a:p>
            <a:pPr lvl="1"/>
            <a:r>
              <a:rPr lang="en-US" altLang="en-US" dirty="0">
                <a:solidFill>
                  <a:schemeClr val="tx1"/>
                </a:solidFill>
              </a:rPr>
              <a:t>Whether the employee is a </a:t>
            </a:r>
            <a:r>
              <a:rPr lang="en-US" altLang="en-US" b="1" dirty="0">
                <a:solidFill>
                  <a:schemeClr val="tx1"/>
                </a:solidFill>
              </a:rPr>
              <a:t>qualified individual with a disability?</a:t>
            </a:r>
          </a:p>
          <a:p>
            <a:pPr lvl="1"/>
            <a:r>
              <a:rPr lang="en-US" altLang="en-US" dirty="0">
                <a:solidFill>
                  <a:schemeClr val="tx1"/>
                </a:solidFill>
              </a:rPr>
              <a:t>Whether the employee can perform essential job functions, with or without accommodations.</a:t>
            </a:r>
          </a:p>
          <a:p>
            <a:pPr lvl="1"/>
            <a:r>
              <a:rPr lang="en-US" altLang="en-US" dirty="0">
                <a:solidFill>
                  <a:schemeClr val="tx1"/>
                </a:solidFill>
              </a:rPr>
              <a:t>Whether the tasks the employee cannot perform are essential job functions.</a:t>
            </a:r>
          </a:p>
          <a:p>
            <a:pPr lvl="1"/>
            <a:r>
              <a:rPr lang="en-US" altLang="en-US" dirty="0">
                <a:solidFill>
                  <a:schemeClr val="tx1"/>
                </a:solidFill>
              </a:rPr>
              <a:t>Is the requested accommodation reasonable?</a:t>
            </a:r>
          </a:p>
          <a:p>
            <a:pPr lvl="1"/>
            <a:r>
              <a:rPr lang="en-US" altLang="en-US" dirty="0">
                <a:solidFill>
                  <a:schemeClr val="tx1"/>
                </a:solidFill>
              </a:rPr>
              <a:t>Does the requested accommodation pose an undue hardship?  </a:t>
            </a:r>
          </a:p>
        </p:txBody>
      </p:sp>
    </p:spTree>
    <p:extLst>
      <p:ext uri="{BB962C8B-B14F-4D97-AF65-F5344CB8AC3E}">
        <p14:creationId xmlns:p14="http://schemas.microsoft.com/office/powerpoint/2010/main" val="7706917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23174F-67D1-251B-8FC7-4040CC604BDA}"/>
              </a:ext>
            </a:extLst>
          </p:cNvPr>
          <p:cNvSpPr>
            <a:spLocks noGrp="1"/>
          </p:cNvSpPr>
          <p:nvPr>
            <p:ph type="title"/>
          </p:nvPr>
        </p:nvSpPr>
        <p:spPr/>
        <p:txBody>
          <a:bodyPr>
            <a:normAutofit/>
          </a:bodyPr>
          <a:lstStyle/>
          <a:p>
            <a:r>
              <a:rPr lang="en-US" sz="3600" b="1" dirty="0"/>
              <a:t>Legal Landscape – the Framework</a:t>
            </a:r>
          </a:p>
        </p:txBody>
      </p:sp>
      <p:sp>
        <p:nvSpPr>
          <p:cNvPr id="3" name="Content Placeholder 2">
            <a:extLst>
              <a:ext uri="{FF2B5EF4-FFF2-40B4-BE49-F238E27FC236}">
                <a16:creationId xmlns:a16="http://schemas.microsoft.com/office/drawing/2014/main" id="{57FF1A91-B1F5-C5DD-1EFD-A7A6B5CB813B}"/>
              </a:ext>
            </a:extLst>
          </p:cNvPr>
          <p:cNvSpPr>
            <a:spLocks noGrp="1"/>
          </p:cNvSpPr>
          <p:nvPr>
            <p:ph idx="1"/>
          </p:nvPr>
        </p:nvSpPr>
        <p:spPr/>
        <p:txBody>
          <a:bodyPr>
            <a:normAutofit/>
          </a:bodyPr>
          <a:lstStyle/>
          <a:p>
            <a:pPr marL="0" indent="0">
              <a:spcAft>
                <a:spcPts val="1200"/>
              </a:spcAft>
              <a:buNone/>
              <a:defRPr/>
            </a:pPr>
            <a:r>
              <a:rPr lang="en-US" sz="3200" dirty="0">
                <a:solidFill>
                  <a:schemeClr val="tx1"/>
                </a:solidFill>
              </a:rPr>
              <a:t>What is an </a:t>
            </a:r>
            <a:r>
              <a:rPr lang="en-US" sz="3200" b="1" dirty="0">
                <a:solidFill>
                  <a:schemeClr val="tx1"/>
                </a:solidFill>
              </a:rPr>
              <a:t>undue hardship</a:t>
            </a:r>
            <a:r>
              <a:rPr lang="en-US" sz="3200" dirty="0">
                <a:solidFill>
                  <a:schemeClr val="tx1"/>
                </a:solidFill>
              </a:rPr>
              <a:t>?</a:t>
            </a:r>
          </a:p>
          <a:p>
            <a:pPr lvl="1">
              <a:spcAft>
                <a:spcPts val="1200"/>
              </a:spcAft>
              <a:defRPr/>
            </a:pPr>
            <a:r>
              <a:rPr lang="en-US" sz="3200" dirty="0">
                <a:solidFill>
                  <a:schemeClr val="tx1"/>
                </a:solidFill>
              </a:rPr>
              <a:t>“significant difficulty or expense”</a:t>
            </a:r>
          </a:p>
          <a:p>
            <a:pPr marL="0" indent="0" algn="ctr">
              <a:spcAft>
                <a:spcPts val="1200"/>
              </a:spcAft>
              <a:buNone/>
              <a:defRPr/>
            </a:pPr>
            <a:endParaRPr lang="en-US" sz="3200" b="1" dirty="0">
              <a:solidFill>
                <a:schemeClr val="tx1"/>
              </a:solidFill>
            </a:endParaRPr>
          </a:p>
          <a:p>
            <a:pPr marL="0" indent="0" algn="ctr">
              <a:spcAft>
                <a:spcPts val="1200"/>
              </a:spcAft>
              <a:buNone/>
              <a:defRPr/>
            </a:pPr>
            <a:r>
              <a:rPr lang="en-US" sz="3200" b="1" dirty="0">
                <a:solidFill>
                  <a:schemeClr val="tx1"/>
                </a:solidFill>
              </a:rPr>
              <a:t>The “undue hardship” analysis and the “interactive process” are both highly fact-specific</a:t>
            </a:r>
          </a:p>
        </p:txBody>
      </p:sp>
    </p:spTree>
    <p:extLst>
      <p:ext uri="{BB962C8B-B14F-4D97-AF65-F5344CB8AC3E}">
        <p14:creationId xmlns:p14="http://schemas.microsoft.com/office/powerpoint/2010/main" val="603277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B042FD-0C5B-AAA5-0394-A7DA448BFED3}"/>
              </a:ext>
            </a:extLst>
          </p:cNvPr>
          <p:cNvSpPr>
            <a:spLocks noGrp="1"/>
          </p:cNvSpPr>
          <p:nvPr>
            <p:ph type="title"/>
          </p:nvPr>
        </p:nvSpPr>
        <p:spPr/>
        <p:txBody>
          <a:bodyPr>
            <a:normAutofit fontScale="90000"/>
          </a:bodyPr>
          <a:lstStyle/>
          <a:p>
            <a:r>
              <a:rPr lang="en-US" sz="4800" b="1" dirty="0"/>
              <a:t>Use the Interactive Process to Get the Facts and to Brainstorm Solutions</a:t>
            </a:r>
          </a:p>
        </p:txBody>
      </p:sp>
      <p:sp>
        <p:nvSpPr>
          <p:cNvPr id="3" name="Content Placeholder 2">
            <a:extLst>
              <a:ext uri="{FF2B5EF4-FFF2-40B4-BE49-F238E27FC236}">
                <a16:creationId xmlns:a16="http://schemas.microsoft.com/office/drawing/2014/main" id="{FB1DC4A1-3E11-7D59-585C-E2DFE8F87CA8}"/>
              </a:ext>
            </a:extLst>
          </p:cNvPr>
          <p:cNvSpPr>
            <a:spLocks noGrp="1"/>
          </p:cNvSpPr>
          <p:nvPr>
            <p:ph idx="1"/>
          </p:nvPr>
        </p:nvSpPr>
        <p:spPr/>
        <p:txBody>
          <a:bodyPr>
            <a:normAutofit/>
          </a:bodyPr>
          <a:lstStyle/>
          <a:p>
            <a:pPr>
              <a:defRPr/>
            </a:pPr>
            <a:r>
              <a:rPr lang="en-US" dirty="0">
                <a:solidFill>
                  <a:schemeClr val="tx1"/>
                </a:solidFill>
              </a:rPr>
              <a:t>The “contours of [the] legal obligation to provide reasonable accommodation will always be fact specific.”  FAQ 4.</a:t>
            </a:r>
          </a:p>
          <a:p>
            <a:pPr lvl="1">
              <a:buFont typeface="Wingdings" panose="05000000000000000000" pitchFamily="2" charset="2"/>
              <a:buChar char="è"/>
              <a:defRPr/>
            </a:pPr>
            <a:r>
              <a:rPr lang="en-US" dirty="0">
                <a:solidFill>
                  <a:schemeClr val="tx1"/>
                </a:solidFill>
                <a:sym typeface="Wingdings" panose="05000000000000000000" pitchFamily="2" charset="2"/>
              </a:rPr>
              <a:t>Getting the facts from the </a:t>
            </a:r>
            <a:r>
              <a:rPr lang="en-US" i="1" dirty="0">
                <a:solidFill>
                  <a:schemeClr val="tx1"/>
                </a:solidFill>
                <a:sym typeface="Wingdings" panose="05000000000000000000" pitchFamily="2" charset="2"/>
              </a:rPr>
              <a:t>EE and the business </a:t>
            </a:r>
            <a:r>
              <a:rPr lang="en-US" dirty="0">
                <a:solidFill>
                  <a:schemeClr val="tx1"/>
                </a:solidFill>
                <a:sym typeface="Wingdings" panose="05000000000000000000" pitchFamily="2" charset="2"/>
              </a:rPr>
              <a:t>is always part of the process.  </a:t>
            </a:r>
          </a:p>
          <a:p>
            <a:pPr>
              <a:defRPr/>
            </a:pPr>
            <a:r>
              <a:rPr lang="en-US" dirty="0">
                <a:solidFill>
                  <a:schemeClr val="tx1"/>
                </a:solidFill>
                <a:sym typeface="Wingdings" panose="05000000000000000000" pitchFamily="2" charset="2"/>
              </a:rPr>
              <a:t>“When there are several reasonable and effective options, an agency may choose an accommodation other than telework.”  FAQ4.</a:t>
            </a:r>
          </a:p>
          <a:p>
            <a:pPr marL="457200" lvl="1" indent="0">
              <a:buNone/>
              <a:defRPr/>
            </a:pPr>
            <a:r>
              <a:rPr lang="en-US" dirty="0">
                <a:solidFill>
                  <a:schemeClr val="tx1"/>
                </a:solidFill>
                <a:sym typeface="Wingdings" panose="05000000000000000000" pitchFamily="2" charset="2"/>
              </a:rPr>
              <a:t>It is okay to explore other options.  E.g., Are there other ways to manage Prospect’s panic attacks other than isolation, private workouts?</a:t>
            </a:r>
          </a:p>
        </p:txBody>
      </p:sp>
    </p:spTree>
    <p:extLst>
      <p:ext uri="{BB962C8B-B14F-4D97-AF65-F5344CB8AC3E}">
        <p14:creationId xmlns:p14="http://schemas.microsoft.com/office/powerpoint/2010/main" val="28318940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2BF524-82D7-A891-BB20-E97409FB5FB4}"/>
              </a:ext>
            </a:extLst>
          </p:cNvPr>
          <p:cNvSpPr>
            <a:spLocks noGrp="1"/>
          </p:cNvSpPr>
          <p:nvPr>
            <p:ph type="title"/>
          </p:nvPr>
        </p:nvSpPr>
        <p:spPr/>
        <p:txBody>
          <a:bodyPr>
            <a:normAutofit/>
          </a:bodyPr>
          <a:lstStyle/>
          <a:p>
            <a:r>
              <a:rPr lang="en-US" sz="4800" b="1" dirty="0"/>
              <a:t>2026 EEOC FAQs</a:t>
            </a:r>
          </a:p>
        </p:txBody>
      </p:sp>
      <p:sp>
        <p:nvSpPr>
          <p:cNvPr id="3" name="Content Placeholder 2">
            <a:extLst>
              <a:ext uri="{FF2B5EF4-FFF2-40B4-BE49-F238E27FC236}">
                <a16:creationId xmlns:a16="http://schemas.microsoft.com/office/drawing/2014/main" id="{0B60C7F4-9FD2-FEF9-71B2-3A012FBE15D5}"/>
              </a:ext>
            </a:extLst>
          </p:cNvPr>
          <p:cNvSpPr>
            <a:spLocks noGrp="1"/>
          </p:cNvSpPr>
          <p:nvPr>
            <p:ph idx="1"/>
          </p:nvPr>
        </p:nvSpPr>
        <p:spPr/>
        <p:txBody>
          <a:bodyPr>
            <a:normAutofit lnSpcReduction="10000"/>
          </a:bodyPr>
          <a:lstStyle/>
          <a:p>
            <a:pPr marL="0" indent="0">
              <a:buNone/>
              <a:defRPr/>
            </a:pPr>
            <a:r>
              <a:rPr lang="en-US" altLang="en-US" b="1" dirty="0">
                <a:solidFill>
                  <a:schemeClr val="tx1"/>
                </a:solidFill>
              </a:rPr>
              <a:t>Q.2. </a:t>
            </a:r>
            <a:r>
              <a:rPr lang="en-US" altLang="en-US" dirty="0">
                <a:solidFill>
                  <a:schemeClr val="tx1"/>
                </a:solidFill>
              </a:rPr>
              <a:t>There are </a:t>
            </a:r>
            <a:r>
              <a:rPr lang="en-US" altLang="en-US" i="1" dirty="0">
                <a:solidFill>
                  <a:schemeClr val="tx1"/>
                </a:solidFill>
              </a:rPr>
              <a:t>only three</a:t>
            </a:r>
            <a:r>
              <a:rPr lang="en-US" altLang="en-US" dirty="0">
                <a:solidFill>
                  <a:schemeClr val="tx1"/>
                </a:solidFill>
              </a:rPr>
              <a:t> reasons to make accommodations for an individual </a:t>
            </a:r>
            <a:r>
              <a:rPr lang="en-US" altLang="en-US" i="1" dirty="0">
                <a:solidFill>
                  <a:schemeClr val="tx1"/>
                </a:solidFill>
              </a:rPr>
              <a:t>with a disability</a:t>
            </a:r>
            <a:r>
              <a:rPr lang="en-US" altLang="en-US" dirty="0">
                <a:solidFill>
                  <a:schemeClr val="tx1"/>
                </a:solidFill>
              </a:rPr>
              <a:t>:</a:t>
            </a:r>
          </a:p>
          <a:p>
            <a:pPr marL="514350" indent="-514350">
              <a:spcBef>
                <a:spcPts val="600"/>
              </a:spcBef>
              <a:spcAft>
                <a:spcPts val="600"/>
              </a:spcAft>
              <a:buFont typeface="Arial" panose="020B0604020202020204" pitchFamily="34" charset="0"/>
              <a:buAutoNum type="arabicPeriod"/>
              <a:defRPr/>
            </a:pPr>
            <a:r>
              <a:rPr lang="en-US" altLang="en-US" sz="2400" dirty="0">
                <a:solidFill>
                  <a:schemeClr val="tx1"/>
                </a:solidFill>
              </a:rPr>
              <a:t>To “enable applicants with disabilities to participate in the application process.”</a:t>
            </a:r>
          </a:p>
          <a:p>
            <a:pPr marL="514350" indent="-514350">
              <a:spcBef>
                <a:spcPts val="600"/>
              </a:spcBef>
              <a:spcAft>
                <a:spcPts val="600"/>
              </a:spcAft>
              <a:buFont typeface="Arial" panose="020B0604020202020204" pitchFamily="34" charset="0"/>
              <a:buAutoNum type="arabicPeriod"/>
              <a:defRPr/>
            </a:pPr>
            <a:r>
              <a:rPr lang="en-US" altLang="en-US" sz="2400" dirty="0">
                <a:solidFill>
                  <a:schemeClr val="tx1"/>
                </a:solidFill>
              </a:rPr>
              <a:t>To “enable employees with disabilities to perform the essential functions of their positions.</a:t>
            </a:r>
          </a:p>
          <a:p>
            <a:pPr marL="514350" indent="-514350">
              <a:spcBef>
                <a:spcPts val="600"/>
              </a:spcBef>
              <a:spcAft>
                <a:spcPts val="600"/>
              </a:spcAft>
              <a:buFont typeface="Arial" panose="020B0604020202020204" pitchFamily="34" charset="0"/>
              <a:buAutoNum type="arabicPeriod"/>
              <a:defRPr/>
            </a:pPr>
            <a:r>
              <a:rPr lang="en-US" altLang="en-US" sz="2400" dirty="0">
                <a:solidFill>
                  <a:schemeClr val="tx1"/>
                </a:solidFill>
              </a:rPr>
              <a:t>To “enable employees with disabilities to enjoy equal benefits and privileges of employment</a:t>
            </a:r>
            <a:r>
              <a:rPr lang="en-US" altLang="en-US" dirty="0">
                <a:solidFill>
                  <a:schemeClr val="tx1"/>
                </a:solidFill>
              </a:rPr>
              <a:t>.”</a:t>
            </a:r>
          </a:p>
          <a:p>
            <a:pPr marL="0" indent="0">
              <a:spcBef>
                <a:spcPts val="600"/>
              </a:spcBef>
              <a:spcAft>
                <a:spcPts val="600"/>
              </a:spcAft>
              <a:buNone/>
              <a:defRPr/>
            </a:pPr>
            <a:r>
              <a:rPr lang="en-US" altLang="en-US" dirty="0">
                <a:solidFill>
                  <a:schemeClr val="tx1"/>
                </a:solidFill>
                <a:sym typeface="Wingdings" panose="05000000000000000000" pitchFamily="2" charset="2"/>
              </a:rPr>
              <a:t>Accommodation “that does not serve one of these purposes, such as telework that is primarily for the employee’s personal benefit, is not a recognized reasonable accommodation.”</a:t>
            </a:r>
          </a:p>
          <a:p>
            <a:pPr marL="514350" indent="-514350">
              <a:spcBef>
                <a:spcPts val="600"/>
              </a:spcBef>
              <a:spcAft>
                <a:spcPts val="600"/>
              </a:spcAft>
              <a:buFont typeface="Arial" panose="020B0604020202020204" pitchFamily="34" charset="0"/>
              <a:buAutoNum type="arabicPeriod"/>
              <a:defRPr/>
            </a:pPr>
            <a:endParaRPr lang="en-US" altLang="en-US" dirty="0">
              <a:solidFill>
                <a:schemeClr val="tx1"/>
              </a:solidFill>
            </a:endParaRPr>
          </a:p>
          <a:p>
            <a:pPr marL="514350" indent="-514350">
              <a:spcBef>
                <a:spcPts val="600"/>
              </a:spcBef>
              <a:spcAft>
                <a:spcPts val="600"/>
              </a:spcAft>
              <a:buFont typeface="Arial" panose="020B0604020202020204" pitchFamily="34" charset="0"/>
              <a:buAutoNum type="arabicPeriod"/>
              <a:defRPr/>
            </a:pPr>
            <a:endParaRPr lang="en-US" dirty="0">
              <a:solidFill>
                <a:schemeClr val="tx1"/>
              </a:solidFill>
            </a:endParaRPr>
          </a:p>
          <a:p>
            <a:pPr marL="514350" indent="-514350">
              <a:spcBef>
                <a:spcPts val="600"/>
              </a:spcBef>
              <a:spcAft>
                <a:spcPts val="600"/>
              </a:spcAft>
              <a:buFont typeface="Arial" panose="020B0604020202020204" pitchFamily="34" charset="0"/>
              <a:buAutoNum type="arabicPeriod"/>
              <a:defRPr/>
            </a:pPr>
            <a:endParaRPr lang="en-US" dirty="0">
              <a:solidFill>
                <a:schemeClr val="tx1"/>
              </a:solidFill>
            </a:endParaRPr>
          </a:p>
        </p:txBody>
      </p:sp>
    </p:spTree>
    <p:extLst>
      <p:ext uri="{BB962C8B-B14F-4D97-AF65-F5344CB8AC3E}">
        <p14:creationId xmlns:p14="http://schemas.microsoft.com/office/powerpoint/2010/main" val="40367252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170FC-823E-376B-02E9-BF78A222BD94}"/>
              </a:ext>
            </a:extLst>
          </p:cNvPr>
          <p:cNvSpPr>
            <a:spLocks noGrp="1"/>
          </p:cNvSpPr>
          <p:nvPr>
            <p:ph type="title"/>
          </p:nvPr>
        </p:nvSpPr>
        <p:spPr/>
        <p:txBody>
          <a:bodyPr>
            <a:noAutofit/>
          </a:bodyPr>
          <a:lstStyle/>
          <a:p>
            <a:r>
              <a:rPr lang="en-US" sz="3000" b="1" dirty="0"/>
              <a:t>Draft Day Hypo 4.  Is Prospect’s request for 12-14 weeks of additional leave a reasonable accommodation?</a:t>
            </a:r>
          </a:p>
        </p:txBody>
      </p:sp>
      <p:sp>
        <p:nvSpPr>
          <p:cNvPr id="3" name="Content Placeholder 2">
            <a:extLst>
              <a:ext uri="{FF2B5EF4-FFF2-40B4-BE49-F238E27FC236}">
                <a16:creationId xmlns:a16="http://schemas.microsoft.com/office/drawing/2014/main" id="{8D59F424-1886-ED21-6452-91821B2DE572}"/>
              </a:ext>
            </a:extLst>
          </p:cNvPr>
          <p:cNvSpPr>
            <a:spLocks noGrp="1"/>
          </p:cNvSpPr>
          <p:nvPr>
            <p:ph idx="1"/>
          </p:nvPr>
        </p:nvSpPr>
        <p:spPr/>
        <p:txBody>
          <a:bodyPr>
            <a:normAutofit fontScale="92500" lnSpcReduction="10000"/>
          </a:bodyPr>
          <a:lstStyle/>
          <a:p>
            <a:r>
              <a:rPr lang="en-US" altLang="en-US" dirty="0">
                <a:solidFill>
                  <a:schemeClr val="tx1"/>
                </a:solidFill>
              </a:rPr>
              <a:t>Some considerations to discuss in huddle:</a:t>
            </a:r>
          </a:p>
          <a:p>
            <a:endParaRPr lang="en-US" altLang="en-US" dirty="0">
              <a:solidFill>
                <a:schemeClr val="tx1"/>
              </a:solidFill>
            </a:endParaRPr>
          </a:p>
          <a:p>
            <a:pPr lvl="1"/>
            <a:r>
              <a:rPr lang="en-US" altLang="en-US" dirty="0">
                <a:solidFill>
                  <a:schemeClr val="tx1"/>
                </a:solidFill>
              </a:rPr>
              <a:t>What is the reason for the leave?  Personal v. medical/disability-related</a:t>
            </a:r>
          </a:p>
          <a:p>
            <a:pPr lvl="1"/>
            <a:r>
              <a:rPr lang="en-US" altLang="en-US" dirty="0">
                <a:solidFill>
                  <a:schemeClr val="tx1"/>
                </a:solidFill>
              </a:rPr>
              <a:t>Is the duration reasonable? </a:t>
            </a:r>
          </a:p>
          <a:p>
            <a:pPr lvl="1"/>
            <a:r>
              <a:rPr lang="en-US" altLang="en-US" dirty="0">
                <a:solidFill>
                  <a:schemeClr val="tx1"/>
                </a:solidFill>
              </a:rPr>
              <a:t>Will Prospect be able to perform the essential job functions upon her return from leave, with or without accommodation additional to the extra leave?</a:t>
            </a:r>
          </a:p>
          <a:p>
            <a:pPr lvl="1"/>
            <a:r>
              <a:rPr lang="en-US" altLang="en-US" dirty="0">
                <a:solidFill>
                  <a:schemeClr val="tx1"/>
                </a:solidFill>
              </a:rPr>
              <a:t>Are there logistical problems \ costs to the ER?</a:t>
            </a:r>
          </a:p>
          <a:p>
            <a:pPr marL="457200" lvl="1" indent="0">
              <a:buNone/>
            </a:pPr>
            <a:r>
              <a:rPr lang="en-US" altLang="en-US" dirty="0">
                <a:solidFill>
                  <a:schemeClr val="tx1"/>
                </a:solidFill>
              </a:rPr>
              <a:t>  </a:t>
            </a:r>
          </a:p>
          <a:p>
            <a:pPr lvl="2"/>
            <a:r>
              <a:rPr lang="en-US" altLang="en-US" dirty="0">
                <a:solidFill>
                  <a:schemeClr val="tx1"/>
                </a:solidFill>
              </a:rPr>
              <a:t>Can the ER hire temporary help or temporarily assign Prospect’s job duties to others when she is on leave?</a:t>
            </a:r>
          </a:p>
          <a:p>
            <a:pPr lvl="2"/>
            <a:r>
              <a:rPr lang="en-US" altLang="en-US" dirty="0">
                <a:solidFill>
                  <a:schemeClr val="tx1"/>
                </a:solidFill>
              </a:rPr>
              <a:t>Does the decision affect the salary cap?</a:t>
            </a:r>
          </a:p>
          <a:p>
            <a:pPr marL="914400" lvl="2" indent="0">
              <a:buNone/>
            </a:pPr>
            <a:endParaRPr lang="en-US" altLang="en-US" dirty="0">
              <a:solidFill>
                <a:schemeClr val="tx1"/>
              </a:solidFill>
            </a:endParaRPr>
          </a:p>
          <a:p>
            <a:pPr lvl="1"/>
            <a:r>
              <a:rPr lang="en-US" altLang="en-US" dirty="0">
                <a:solidFill>
                  <a:schemeClr val="tx1"/>
                </a:solidFill>
              </a:rPr>
              <a:t>Is there an undue hardship?</a:t>
            </a:r>
          </a:p>
        </p:txBody>
      </p:sp>
    </p:spTree>
    <p:extLst>
      <p:ext uri="{BB962C8B-B14F-4D97-AF65-F5344CB8AC3E}">
        <p14:creationId xmlns:p14="http://schemas.microsoft.com/office/powerpoint/2010/main" val="39100462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746962-9874-6100-4436-657DF1890352}"/>
              </a:ext>
            </a:extLst>
          </p:cNvPr>
          <p:cNvSpPr>
            <a:spLocks noGrp="1"/>
          </p:cNvSpPr>
          <p:nvPr>
            <p:ph type="title"/>
          </p:nvPr>
        </p:nvSpPr>
        <p:spPr/>
        <p:txBody>
          <a:bodyPr>
            <a:normAutofit/>
          </a:bodyPr>
          <a:lstStyle/>
          <a:p>
            <a:r>
              <a:rPr lang="en-US" sz="4800" b="1" dirty="0"/>
              <a:t>EEOC FAQ re: Anxiety</a:t>
            </a:r>
          </a:p>
        </p:txBody>
      </p:sp>
      <p:sp>
        <p:nvSpPr>
          <p:cNvPr id="3" name="Content Placeholder 2">
            <a:extLst>
              <a:ext uri="{FF2B5EF4-FFF2-40B4-BE49-F238E27FC236}">
                <a16:creationId xmlns:a16="http://schemas.microsoft.com/office/drawing/2014/main" id="{B404B1AC-F691-4007-D192-5668900727A8}"/>
              </a:ext>
            </a:extLst>
          </p:cNvPr>
          <p:cNvSpPr>
            <a:spLocks noGrp="1"/>
          </p:cNvSpPr>
          <p:nvPr>
            <p:ph idx="1"/>
          </p:nvPr>
        </p:nvSpPr>
        <p:spPr/>
        <p:txBody>
          <a:bodyPr>
            <a:noAutofit/>
          </a:bodyPr>
          <a:lstStyle/>
          <a:p>
            <a:r>
              <a:rPr lang="en-US" altLang="en-US" sz="2000" dirty="0">
                <a:solidFill>
                  <a:schemeClr val="tx1"/>
                </a:solidFill>
              </a:rPr>
              <a:t>Consider conducting observations:</a:t>
            </a:r>
            <a:r>
              <a:rPr lang="en-US" altLang="en-US" sz="2000" i="1" dirty="0">
                <a:solidFill>
                  <a:schemeClr val="tx1"/>
                </a:solidFill>
              </a:rPr>
              <a:t> </a:t>
            </a:r>
          </a:p>
          <a:p>
            <a:pPr marL="0" indent="0">
              <a:buNone/>
            </a:pPr>
            <a:endParaRPr lang="en-US" altLang="en-US" sz="2000" i="1" dirty="0">
              <a:solidFill>
                <a:schemeClr val="tx1"/>
              </a:solidFill>
            </a:endParaRPr>
          </a:p>
          <a:p>
            <a:pPr lvl="1"/>
            <a:r>
              <a:rPr lang="en-US" altLang="en-US" sz="2000" i="1" dirty="0">
                <a:solidFill>
                  <a:schemeClr val="tx1"/>
                </a:solidFill>
              </a:rPr>
              <a:t>“If an EE requests telework due to anxiety or similar distress in the workplace, the ER should first observe the employee perform their duties in the workplace.</a:t>
            </a:r>
            <a:r>
              <a:rPr lang="en-US" altLang="en-US" sz="2000" dirty="0">
                <a:solidFill>
                  <a:schemeClr val="tx1"/>
                </a:solidFill>
              </a:rPr>
              <a:t> If the employee is able to perform to the employer’s satisfaction, then anxiety is likely not a material barrier to equal employment opportunity. </a:t>
            </a:r>
            <a:r>
              <a:rPr lang="en-US" altLang="en-US" sz="2000" i="1" dirty="0">
                <a:solidFill>
                  <a:schemeClr val="tx1"/>
                </a:solidFill>
              </a:rPr>
              <a:t>In the run of cases, common anxiety, without more, is unlikely to impose a material barrier.” </a:t>
            </a:r>
            <a:r>
              <a:rPr lang="en-US" altLang="en-US" sz="2000" dirty="0">
                <a:solidFill>
                  <a:schemeClr val="tx1"/>
                </a:solidFill>
              </a:rPr>
              <a:t>FAQ14</a:t>
            </a:r>
          </a:p>
          <a:p>
            <a:pPr marL="457200" lvl="1" indent="0">
              <a:buNone/>
            </a:pPr>
            <a:endParaRPr lang="en-US" altLang="en-US" sz="2000" dirty="0">
              <a:solidFill>
                <a:schemeClr val="tx1"/>
              </a:solidFill>
            </a:endParaRPr>
          </a:p>
          <a:p>
            <a:r>
              <a:rPr lang="en-US" altLang="en-US" sz="2000" dirty="0">
                <a:solidFill>
                  <a:schemeClr val="tx1"/>
                </a:solidFill>
              </a:rPr>
              <a:t>Consider alternatives to remote work:  </a:t>
            </a:r>
          </a:p>
          <a:p>
            <a:pPr marL="0" indent="0">
              <a:buNone/>
            </a:pPr>
            <a:endParaRPr lang="en-US" altLang="en-US" sz="2000" dirty="0">
              <a:solidFill>
                <a:schemeClr val="tx1"/>
              </a:solidFill>
            </a:endParaRPr>
          </a:p>
          <a:p>
            <a:pPr lvl="1"/>
            <a:r>
              <a:rPr lang="en-US" altLang="en-US" sz="2000" dirty="0">
                <a:solidFill>
                  <a:schemeClr val="tx1"/>
                </a:solidFill>
              </a:rPr>
              <a:t>“</a:t>
            </a:r>
            <a:r>
              <a:rPr lang="en-US" altLang="en-US" sz="2000" i="1" dirty="0">
                <a:solidFill>
                  <a:schemeClr val="tx1"/>
                </a:solidFill>
              </a:rPr>
              <a:t>Many common situations can be reasonably and effectively accommodated with in-office measures</a:t>
            </a:r>
            <a:r>
              <a:rPr lang="en-US" altLang="en-US" sz="2000" dirty="0">
                <a:solidFill>
                  <a:schemeClr val="tx1"/>
                </a:solidFill>
              </a:rPr>
              <a:t>. </a:t>
            </a:r>
            <a:r>
              <a:rPr lang="en-US" altLang="en-US" sz="2000" i="1" dirty="0">
                <a:solidFill>
                  <a:schemeClr val="tx1"/>
                </a:solidFill>
              </a:rPr>
              <a:t>Telework is mandatory under the Act only if all other options are demonstrably ineffective.”  </a:t>
            </a:r>
            <a:r>
              <a:rPr lang="en-US" altLang="en-US" sz="2000" dirty="0">
                <a:solidFill>
                  <a:schemeClr val="tx1"/>
                </a:solidFill>
              </a:rPr>
              <a:t>FAQ14</a:t>
            </a:r>
          </a:p>
        </p:txBody>
      </p:sp>
    </p:spTree>
    <p:extLst>
      <p:ext uri="{BB962C8B-B14F-4D97-AF65-F5344CB8AC3E}">
        <p14:creationId xmlns:p14="http://schemas.microsoft.com/office/powerpoint/2010/main" val="8354120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957FD-2869-D039-0CE5-16FEA306AB33}"/>
              </a:ext>
            </a:extLst>
          </p:cNvPr>
          <p:cNvSpPr>
            <a:spLocks noGrp="1"/>
          </p:cNvSpPr>
          <p:nvPr>
            <p:ph type="title"/>
          </p:nvPr>
        </p:nvSpPr>
        <p:spPr/>
        <p:txBody>
          <a:bodyPr>
            <a:normAutofit/>
          </a:bodyPr>
          <a:lstStyle/>
          <a:p>
            <a:r>
              <a:rPr lang="en-US" b="1" dirty="0"/>
              <a:t>Still Anxious?</a:t>
            </a:r>
          </a:p>
        </p:txBody>
      </p:sp>
      <p:sp>
        <p:nvSpPr>
          <p:cNvPr id="3" name="Content Placeholder 2">
            <a:extLst>
              <a:ext uri="{FF2B5EF4-FFF2-40B4-BE49-F238E27FC236}">
                <a16:creationId xmlns:a16="http://schemas.microsoft.com/office/drawing/2014/main" id="{21C228A3-46EB-F0B1-2DB6-0BF88DA8DA6E}"/>
              </a:ext>
            </a:extLst>
          </p:cNvPr>
          <p:cNvSpPr>
            <a:spLocks noGrp="1"/>
          </p:cNvSpPr>
          <p:nvPr>
            <p:ph idx="1"/>
          </p:nvPr>
        </p:nvSpPr>
        <p:spPr/>
        <p:txBody>
          <a:bodyPr/>
          <a:lstStyle/>
          <a:p>
            <a:pPr marL="0" indent="0">
              <a:buNone/>
              <a:defRPr/>
            </a:pPr>
            <a:r>
              <a:rPr lang="en-US" dirty="0">
                <a:solidFill>
                  <a:schemeClr val="tx1"/>
                </a:solidFill>
              </a:rPr>
              <a:t>“the Act does not create a general right to be free from all discomfort and distress in the workplace, including anxiety.”</a:t>
            </a:r>
          </a:p>
          <a:p>
            <a:pPr marL="0" indent="0">
              <a:buNone/>
              <a:defRPr/>
            </a:pPr>
            <a:endParaRPr lang="en-US" dirty="0">
              <a:solidFill>
                <a:schemeClr val="tx1"/>
              </a:solidFill>
            </a:endParaRPr>
          </a:p>
          <a:p>
            <a:pPr marL="0" indent="0">
              <a:buNone/>
              <a:defRPr/>
            </a:pPr>
            <a:r>
              <a:rPr lang="en-US" dirty="0">
                <a:solidFill>
                  <a:schemeClr val="tx1"/>
                </a:solidFill>
              </a:rPr>
              <a:t>“Instead, the Act entitles disabled employees to a fair shot to do their jobs and enjoy the benefits and privileges of those jobs on comparable footing as their non-disabled peers”</a:t>
            </a:r>
          </a:p>
          <a:p>
            <a:pPr marL="0" indent="0">
              <a:buNone/>
              <a:defRPr/>
            </a:pPr>
            <a:r>
              <a:rPr lang="en-US" dirty="0">
                <a:solidFill>
                  <a:schemeClr val="tx1"/>
                </a:solidFill>
              </a:rPr>
              <a:t>FAQ14</a:t>
            </a:r>
          </a:p>
        </p:txBody>
      </p:sp>
    </p:spTree>
    <p:extLst>
      <p:ext uri="{BB962C8B-B14F-4D97-AF65-F5344CB8AC3E}">
        <p14:creationId xmlns:p14="http://schemas.microsoft.com/office/powerpoint/2010/main" val="334951209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782177-4F5A-DC91-1C6A-ED3F35FA4093}"/>
              </a:ext>
            </a:extLst>
          </p:cNvPr>
          <p:cNvSpPr>
            <a:spLocks noGrp="1"/>
          </p:cNvSpPr>
          <p:nvPr>
            <p:ph type="title"/>
          </p:nvPr>
        </p:nvSpPr>
        <p:spPr/>
        <p:txBody>
          <a:bodyPr>
            <a:noAutofit/>
          </a:bodyPr>
          <a:lstStyle/>
          <a:p>
            <a:r>
              <a:rPr lang="en-US" sz="3600" b="1" dirty="0"/>
              <a:t>Draft Day Hypo 5 – Commuting?</a:t>
            </a:r>
          </a:p>
        </p:txBody>
      </p:sp>
      <p:sp>
        <p:nvSpPr>
          <p:cNvPr id="3" name="Content Placeholder 2">
            <a:extLst>
              <a:ext uri="{FF2B5EF4-FFF2-40B4-BE49-F238E27FC236}">
                <a16:creationId xmlns:a16="http://schemas.microsoft.com/office/drawing/2014/main" id="{2101EBCD-C42F-C005-DF95-6E021EA9D99F}"/>
              </a:ext>
            </a:extLst>
          </p:cNvPr>
          <p:cNvSpPr>
            <a:spLocks noGrp="1"/>
          </p:cNvSpPr>
          <p:nvPr>
            <p:ph idx="1"/>
          </p:nvPr>
        </p:nvSpPr>
        <p:spPr/>
        <p:txBody>
          <a:bodyPr/>
          <a:lstStyle/>
          <a:p>
            <a:r>
              <a:rPr lang="en-US" altLang="en-US" dirty="0">
                <a:solidFill>
                  <a:schemeClr val="tx1"/>
                </a:solidFill>
              </a:rPr>
              <a:t>In the interactive process, HR confirms that Prospect’s current anxiety stems from her two-hour drive from her home near Cleveland to the Pittsburgh workout facility, which Prospect explains can trigger her anxiety.  Is a long commute a reason for accommodation?</a:t>
            </a:r>
          </a:p>
        </p:txBody>
      </p:sp>
    </p:spTree>
    <p:extLst>
      <p:ext uri="{BB962C8B-B14F-4D97-AF65-F5344CB8AC3E}">
        <p14:creationId xmlns:p14="http://schemas.microsoft.com/office/powerpoint/2010/main" val="30824804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E372BC-76BA-64EA-2C1F-58E4DC4D4D83}"/>
              </a:ext>
            </a:extLst>
          </p:cNvPr>
          <p:cNvSpPr>
            <a:spLocks noGrp="1"/>
          </p:cNvSpPr>
          <p:nvPr>
            <p:ph type="title"/>
          </p:nvPr>
        </p:nvSpPr>
        <p:spPr/>
        <p:txBody>
          <a:bodyPr>
            <a:normAutofit/>
          </a:bodyPr>
          <a:lstStyle/>
          <a:p>
            <a:r>
              <a:rPr lang="en-US" b="1" dirty="0"/>
              <a:t>Commuting</a:t>
            </a:r>
          </a:p>
        </p:txBody>
      </p:sp>
      <p:sp>
        <p:nvSpPr>
          <p:cNvPr id="3" name="Content Placeholder 2">
            <a:extLst>
              <a:ext uri="{FF2B5EF4-FFF2-40B4-BE49-F238E27FC236}">
                <a16:creationId xmlns:a16="http://schemas.microsoft.com/office/drawing/2014/main" id="{878740ED-5922-F384-C103-28AFAFBE2EBD}"/>
              </a:ext>
            </a:extLst>
          </p:cNvPr>
          <p:cNvSpPr>
            <a:spLocks noGrp="1"/>
          </p:cNvSpPr>
          <p:nvPr>
            <p:ph idx="1"/>
          </p:nvPr>
        </p:nvSpPr>
        <p:spPr/>
        <p:txBody>
          <a:bodyPr>
            <a:normAutofit/>
          </a:bodyPr>
          <a:lstStyle/>
          <a:p>
            <a:r>
              <a:rPr lang="en-US" altLang="en-US" sz="2400" dirty="0">
                <a:solidFill>
                  <a:schemeClr val="tx1"/>
                </a:solidFill>
              </a:rPr>
              <a:t>Generally, the ER has no obligation to accommodate a difficult or lengthy commute, where outside the ER’s control. FAQ15.  </a:t>
            </a:r>
          </a:p>
          <a:p>
            <a:pPr marL="0" indent="0">
              <a:buNone/>
            </a:pPr>
            <a:endParaRPr lang="en-US" altLang="en-US" sz="2400" dirty="0">
              <a:solidFill>
                <a:schemeClr val="tx1"/>
              </a:solidFill>
            </a:endParaRPr>
          </a:p>
          <a:p>
            <a:pPr lvl="1"/>
            <a:r>
              <a:rPr lang="en-US" altLang="en-US" dirty="0">
                <a:solidFill>
                  <a:schemeClr val="tx1"/>
                </a:solidFill>
              </a:rPr>
              <a:t>“It is the employee’s responsibility to arrange how [they] will get to and from work.”</a:t>
            </a:r>
          </a:p>
          <a:p>
            <a:pPr lvl="1"/>
            <a:endParaRPr lang="en-US" altLang="en-US" dirty="0">
              <a:solidFill>
                <a:schemeClr val="tx1"/>
              </a:solidFill>
            </a:endParaRPr>
          </a:p>
          <a:p>
            <a:r>
              <a:rPr lang="en-US" altLang="en-US" sz="2400" dirty="0">
                <a:solidFill>
                  <a:schemeClr val="tx1"/>
                </a:solidFill>
              </a:rPr>
              <a:t>But, for an EE with a disability, ER should consider whether to make workplace accommodations, including flexible scheduling, and a limited period of telework to give the employee time to relocate closer to the worksite or secure a different means for their commute.</a:t>
            </a:r>
            <a:endParaRPr lang="en-US" sz="2400" dirty="0">
              <a:solidFill>
                <a:schemeClr val="tx1"/>
              </a:solidFill>
            </a:endParaRPr>
          </a:p>
        </p:txBody>
      </p:sp>
    </p:spTree>
    <p:extLst>
      <p:ext uri="{BB962C8B-B14F-4D97-AF65-F5344CB8AC3E}">
        <p14:creationId xmlns:p14="http://schemas.microsoft.com/office/powerpoint/2010/main" val="7769875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620918-9C73-51F2-6E74-6A5617BC0607}"/>
              </a:ext>
            </a:extLst>
          </p:cNvPr>
          <p:cNvSpPr>
            <a:spLocks noGrp="1"/>
          </p:cNvSpPr>
          <p:nvPr>
            <p:ph type="title"/>
          </p:nvPr>
        </p:nvSpPr>
        <p:spPr/>
        <p:txBody>
          <a:bodyPr>
            <a:normAutofit/>
          </a:bodyPr>
          <a:lstStyle/>
          <a:p>
            <a:r>
              <a:rPr lang="en-US" sz="4000" b="1" dirty="0"/>
              <a:t>Hierarchy of Accommodations</a:t>
            </a:r>
          </a:p>
        </p:txBody>
      </p:sp>
      <p:sp>
        <p:nvSpPr>
          <p:cNvPr id="3" name="Content Placeholder 2">
            <a:extLst>
              <a:ext uri="{FF2B5EF4-FFF2-40B4-BE49-F238E27FC236}">
                <a16:creationId xmlns:a16="http://schemas.microsoft.com/office/drawing/2014/main" id="{081DB513-7C0C-6210-9C0B-F921BB15CE58}"/>
              </a:ext>
            </a:extLst>
          </p:cNvPr>
          <p:cNvSpPr>
            <a:spLocks noGrp="1"/>
          </p:cNvSpPr>
          <p:nvPr>
            <p:ph idx="1"/>
          </p:nvPr>
        </p:nvSpPr>
        <p:spPr/>
        <p:txBody>
          <a:bodyPr/>
          <a:lstStyle/>
          <a:p>
            <a:pPr marL="514350" indent="-514350">
              <a:buFont typeface="Arial" panose="020B0604020202020204" pitchFamily="34" charset="0"/>
              <a:buAutoNum type="arabicPeriod"/>
              <a:defRPr/>
            </a:pPr>
            <a:endParaRPr lang="en-US" altLang="en-US" dirty="0">
              <a:solidFill>
                <a:schemeClr val="tx1"/>
              </a:solidFill>
            </a:endParaRPr>
          </a:p>
          <a:p>
            <a:pPr marL="514350" indent="-514350">
              <a:buFont typeface="Arial" panose="020B0604020202020204" pitchFamily="34" charset="0"/>
              <a:buAutoNum type="arabicPeriod"/>
              <a:defRPr/>
            </a:pPr>
            <a:r>
              <a:rPr lang="en-US" altLang="en-US" dirty="0">
                <a:solidFill>
                  <a:schemeClr val="tx1"/>
                </a:solidFill>
              </a:rPr>
              <a:t>Alternatives that keep EE in the workplace.</a:t>
            </a:r>
          </a:p>
          <a:p>
            <a:pPr marL="514350" indent="-514350">
              <a:buFont typeface="Arial" panose="020B0604020202020204" pitchFamily="34" charset="0"/>
              <a:buAutoNum type="arabicPeriod"/>
              <a:defRPr/>
            </a:pPr>
            <a:endParaRPr lang="en-US" altLang="en-US" dirty="0">
              <a:solidFill>
                <a:schemeClr val="tx1"/>
              </a:solidFill>
            </a:endParaRPr>
          </a:p>
          <a:p>
            <a:pPr marL="514350" indent="-514350">
              <a:buFont typeface="Arial" panose="020B0604020202020204" pitchFamily="34" charset="0"/>
              <a:buAutoNum type="arabicPeriod"/>
              <a:defRPr/>
            </a:pPr>
            <a:r>
              <a:rPr lang="en-US" altLang="en-US" dirty="0">
                <a:solidFill>
                  <a:schemeClr val="tx1"/>
                </a:solidFill>
              </a:rPr>
              <a:t>Remote work.</a:t>
            </a:r>
          </a:p>
          <a:p>
            <a:pPr marL="514350" indent="-514350">
              <a:buFont typeface="Arial" panose="020B0604020202020204" pitchFamily="34" charset="0"/>
              <a:buAutoNum type="arabicPeriod"/>
              <a:defRPr/>
            </a:pPr>
            <a:endParaRPr lang="en-US" altLang="en-US" dirty="0">
              <a:solidFill>
                <a:schemeClr val="tx1"/>
              </a:solidFill>
            </a:endParaRPr>
          </a:p>
          <a:p>
            <a:pPr marL="514350" indent="-514350">
              <a:buFont typeface="Arial" panose="020B0604020202020204" pitchFamily="34" charset="0"/>
              <a:buAutoNum type="arabicPeriod"/>
              <a:defRPr/>
            </a:pPr>
            <a:r>
              <a:rPr lang="en-US" altLang="en-US" dirty="0">
                <a:solidFill>
                  <a:schemeClr val="tx1"/>
                </a:solidFill>
              </a:rPr>
              <a:t>Leave.</a:t>
            </a:r>
          </a:p>
        </p:txBody>
      </p:sp>
    </p:spTree>
    <p:extLst>
      <p:ext uri="{BB962C8B-B14F-4D97-AF65-F5344CB8AC3E}">
        <p14:creationId xmlns:p14="http://schemas.microsoft.com/office/powerpoint/2010/main" val="26692728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800" dirty="0"/>
              <a:t>Accommodation Cases are Rising</a:t>
            </a:r>
            <a:r>
              <a:rPr lang="en-US" sz="4400" dirty="0"/>
              <a:t>	</a:t>
            </a:r>
          </a:p>
        </p:txBody>
      </p:sp>
      <p:sp>
        <p:nvSpPr>
          <p:cNvPr id="3" name="Content Placeholder 2"/>
          <p:cNvSpPr>
            <a:spLocks noGrp="1"/>
          </p:cNvSpPr>
          <p:nvPr>
            <p:ph idx="1"/>
          </p:nvPr>
        </p:nvSpPr>
        <p:spPr>
          <a:xfrm>
            <a:off x="5179787" y="1379992"/>
            <a:ext cx="6174014" cy="4617584"/>
          </a:xfrm>
        </p:spPr>
        <p:txBody>
          <a:bodyPr/>
          <a:lstStyle/>
          <a:p>
            <a:r>
              <a:rPr lang="en-US" altLang="en-US" dirty="0">
                <a:solidFill>
                  <a:schemeClr val="tx1"/>
                </a:solidFill>
              </a:rPr>
              <a:t>Law360 reported on March 10, 2026, that accommodation case filings increased by 42% from 2024-2025 and have more than doubled since 2022.</a:t>
            </a:r>
          </a:p>
          <a:p>
            <a:r>
              <a:rPr lang="en-US" altLang="en-US" dirty="0">
                <a:solidFill>
                  <a:schemeClr val="tx1"/>
                </a:solidFill>
              </a:rPr>
              <a:t>The increase may be fueled by employers creating blanket return to office policies, and a large number of accommodation and leave requests.</a:t>
            </a:r>
          </a:p>
        </p:txBody>
      </p:sp>
      <p:pic>
        <p:nvPicPr>
          <p:cNvPr id="4" name="Picture 10">
            <a:extLst>
              <a:ext uri="{FF2B5EF4-FFF2-40B4-BE49-F238E27FC236}">
                <a16:creationId xmlns:a16="http://schemas.microsoft.com/office/drawing/2014/main" id="{0CFCD66C-F499-6BAF-C234-EE513854FD7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7636" y="1379992"/>
            <a:ext cx="4502150" cy="397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055204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76BABC-4176-097A-6F17-B5AC9C2E6313}"/>
              </a:ext>
            </a:extLst>
          </p:cNvPr>
          <p:cNvSpPr>
            <a:spLocks noGrp="1"/>
          </p:cNvSpPr>
          <p:nvPr>
            <p:ph type="title"/>
          </p:nvPr>
        </p:nvSpPr>
        <p:spPr/>
        <p:txBody>
          <a:bodyPr>
            <a:noAutofit/>
          </a:bodyPr>
          <a:lstStyle/>
          <a:p>
            <a:r>
              <a:rPr lang="en-US" sz="3200" b="1" dirty="0"/>
              <a:t>BP #4 – Additional Leave Can be an Accommodation</a:t>
            </a:r>
          </a:p>
        </p:txBody>
      </p:sp>
      <p:sp>
        <p:nvSpPr>
          <p:cNvPr id="3" name="Content Placeholder 2">
            <a:extLst>
              <a:ext uri="{FF2B5EF4-FFF2-40B4-BE49-F238E27FC236}">
                <a16:creationId xmlns:a16="http://schemas.microsoft.com/office/drawing/2014/main" id="{20AFF564-5622-B5D5-4519-7AF9BBAB93D2}"/>
              </a:ext>
            </a:extLst>
          </p:cNvPr>
          <p:cNvSpPr>
            <a:spLocks noGrp="1"/>
          </p:cNvSpPr>
          <p:nvPr>
            <p:ph idx="1"/>
          </p:nvPr>
        </p:nvSpPr>
        <p:spPr/>
        <p:txBody>
          <a:bodyPr/>
          <a:lstStyle/>
          <a:p>
            <a:r>
              <a:rPr lang="en-US" altLang="en-US" dirty="0">
                <a:solidFill>
                  <a:schemeClr val="tx1"/>
                </a:solidFill>
              </a:rPr>
              <a:t>EEOC and courts routinely find against employers who refuse to consider exceptions to blanket policies requiring automatic termination after leave is exhausted.</a:t>
            </a:r>
          </a:p>
          <a:p>
            <a:endParaRPr lang="en-US" altLang="en-US" dirty="0">
              <a:solidFill>
                <a:schemeClr val="tx1"/>
              </a:solidFill>
            </a:endParaRPr>
          </a:p>
          <a:p>
            <a:pPr lvl="1">
              <a:buFont typeface="Wingdings" panose="05000000000000000000" pitchFamily="2" charset="2"/>
              <a:buChar char="è"/>
            </a:pPr>
            <a:r>
              <a:rPr lang="en-US" altLang="en-US" dirty="0">
                <a:solidFill>
                  <a:schemeClr val="tx1"/>
                </a:solidFill>
                <a:sym typeface="Wingdings" panose="05000000000000000000" pitchFamily="2" charset="2"/>
              </a:rPr>
              <a:t>Consider whether an exception to the blanket termination policy (additional leave beyond FMLA) may be made as a reasonable accommodation.</a:t>
            </a:r>
          </a:p>
          <a:p>
            <a:pPr lvl="1">
              <a:buFont typeface="Wingdings" panose="05000000000000000000" pitchFamily="2" charset="2"/>
              <a:buChar char="è"/>
            </a:pPr>
            <a:endParaRPr lang="en-US" altLang="en-US" dirty="0">
              <a:solidFill>
                <a:schemeClr val="tx1"/>
              </a:solidFill>
              <a:sym typeface="Wingdings" panose="05000000000000000000" pitchFamily="2" charset="2"/>
            </a:endParaRPr>
          </a:p>
          <a:p>
            <a:pPr lvl="1">
              <a:buFont typeface="Wingdings" panose="05000000000000000000" pitchFamily="2" charset="2"/>
              <a:buChar char="è"/>
            </a:pPr>
            <a:r>
              <a:rPr lang="en-US" altLang="en-US" dirty="0">
                <a:solidFill>
                  <a:schemeClr val="tx1"/>
                </a:solidFill>
                <a:sym typeface="Wingdings" panose="05000000000000000000" pitchFamily="2" charset="2"/>
              </a:rPr>
              <a:t>Will EE be able to return to work performing essential job functions with or without accommodation after an additional, reasonable period of leave.	</a:t>
            </a:r>
            <a:endParaRPr lang="en-US" dirty="0">
              <a:solidFill>
                <a:schemeClr val="tx1"/>
              </a:solidFill>
            </a:endParaRPr>
          </a:p>
        </p:txBody>
      </p:sp>
    </p:spTree>
    <p:extLst>
      <p:ext uri="{BB962C8B-B14F-4D97-AF65-F5344CB8AC3E}">
        <p14:creationId xmlns:p14="http://schemas.microsoft.com/office/powerpoint/2010/main" val="365577251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E0D8C3-56F4-D19A-12C5-410FB36DFF8A}"/>
              </a:ext>
            </a:extLst>
          </p:cNvPr>
          <p:cNvSpPr>
            <a:spLocks noGrp="1"/>
          </p:cNvSpPr>
          <p:nvPr>
            <p:ph type="title"/>
          </p:nvPr>
        </p:nvSpPr>
        <p:spPr/>
        <p:txBody>
          <a:bodyPr>
            <a:normAutofit/>
          </a:bodyPr>
          <a:lstStyle/>
          <a:p>
            <a:r>
              <a:rPr lang="en-US" sz="4000" b="1" dirty="0"/>
              <a:t>EEOC FAQ on Leave v. Remote work</a:t>
            </a:r>
          </a:p>
        </p:txBody>
      </p:sp>
      <p:sp>
        <p:nvSpPr>
          <p:cNvPr id="3" name="Content Placeholder 2">
            <a:extLst>
              <a:ext uri="{FF2B5EF4-FFF2-40B4-BE49-F238E27FC236}">
                <a16:creationId xmlns:a16="http://schemas.microsoft.com/office/drawing/2014/main" id="{C6B2ECF4-C7F1-9562-33E8-648999F28F2A}"/>
              </a:ext>
            </a:extLst>
          </p:cNvPr>
          <p:cNvSpPr>
            <a:spLocks noGrp="1"/>
          </p:cNvSpPr>
          <p:nvPr>
            <p:ph idx="1"/>
          </p:nvPr>
        </p:nvSpPr>
        <p:spPr/>
        <p:txBody>
          <a:bodyPr/>
          <a:lstStyle/>
          <a:p>
            <a:r>
              <a:rPr lang="en-US" altLang="en-US" dirty="0">
                <a:solidFill>
                  <a:schemeClr val="tx1"/>
                </a:solidFill>
              </a:rPr>
              <a:t>According to EEOC accommodated leave may pose more hardship on the ER than does remote work. </a:t>
            </a:r>
          </a:p>
          <a:p>
            <a:pPr marL="0" indent="0">
              <a:buNone/>
            </a:pPr>
            <a:r>
              <a:rPr lang="en-US" altLang="en-US" dirty="0">
                <a:solidFill>
                  <a:schemeClr val="tx1"/>
                </a:solidFill>
              </a:rPr>
              <a:t>  </a:t>
            </a:r>
          </a:p>
          <a:p>
            <a:pPr lvl="1"/>
            <a:r>
              <a:rPr lang="en-US" altLang="en-US" dirty="0">
                <a:solidFill>
                  <a:schemeClr val="tx1"/>
                </a:solidFill>
              </a:rPr>
              <a:t>When an EE is on leave, ER has to find a “replacement … or else tolerate a production shortfall.”  EEOC FAQ16.</a:t>
            </a:r>
          </a:p>
          <a:p>
            <a:pPr lvl="1"/>
            <a:endParaRPr lang="en-US" altLang="en-US" dirty="0">
              <a:solidFill>
                <a:schemeClr val="tx1"/>
              </a:solidFill>
            </a:endParaRPr>
          </a:p>
          <a:p>
            <a:r>
              <a:rPr lang="en-US" altLang="en-US" dirty="0">
                <a:solidFill>
                  <a:schemeClr val="tx1"/>
                </a:solidFill>
              </a:rPr>
              <a:t>For this reason, remote work may be a “superior option.”</a:t>
            </a:r>
          </a:p>
          <a:p>
            <a:pPr lvl="1"/>
            <a:endParaRPr lang="en-US" altLang="en-US" dirty="0">
              <a:solidFill>
                <a:schemeClr val="tx1"/>
              </a:solidFill>
            </a:endParaRPr>
          </a:p>
          <a:p>
            <a:pPr lvl="1"/>
            <a:r>
              <a:rPr lang="en-US" altLang="en-US" dirty="0">
                <a:solidFill>
                  <a:schemeClr val="tx1"/>
                </a:solidFill>
              </a:rPr>
              <a:t>Even where the reason for the return-to-work order is increased sufficiency.</a:t>
            </a:r>
          </a:p>
        </p:txBody>
      </p:sp>
    </p:spTree>
    <p:extLst>
      <p:ext uri="{BB962C8B-B14F-4D97-AF65-F5344CB8AC3E}">
        <p14:creationId xmlns:p14="http://schemas.microsoft.com/office/powerpoint/2010/main" val="17590978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A83B-5722-60E6-A938-5E757697F87E}"/>
              </a:ext>
            </a:extLst>
          </p:cNvPr>
          <p:cNvSpPr>
            <a:spLocks noGrp="1"/>
          </p:cNvSpPr>
          <p:nvPr>
            <p:ph type="title"/>
          </p:nvPr>
        </p:nvSpPr>
        <p:spPr/>
        <p:txBody>
          <a:bodyPr>
            <a:normAutofit/>
          </a:bodyPr>
          <a:lstStyle/>
          <a:p>
            <a:r>
              <a:rPr lang="en-US" sz="3600" b="1" dirty="0"/>
              <a:t>When is too much leave an undue hardship?</a:t>
            </a:r>
          </a:p>
        </p:txBody>
      </p:sp>
      <p:sp>
        <p:nvSpPr>
          <p:cNvPr id="3" name="Content Placeholder 2">
            <a:extLst>
              <a:ext uri="{FF2B5EF4-FFF2-40B4-BE49-F238E27FC236}">
                <a16:creationId xmlns:a16="http://schemas.microsoft.com/office/drawing/2014/main" id="{0898DAA0-6018-741D-0508-11E7DAE37102}"/>
              </a:ext>
            </a:extLst>
          </p:cNvPr>
          <p:cNvSpPr>
            <a:spLocks noGrp="1"/>
          </p:cNvSpPr>
          <p:nvPr>
            <p:ph idx="1"/>
          </p:nvPr>
        </p:nvSpPr>
        <p:spPr/>
        <p:txBody>
          <a:bodyPr/>
          <a:lstStyle/>
          <a:p>
            <a:r>
              <a:rPr lang="en-US" altLang="en-US" dirty="0">
                <a:solidFill>
                  <a:schemeClr val="tx1"/>
                </a:solidFill>
              </a:rPr>
              <a:t>Undue hardship is a fact-specific question.</a:t>
            </a:r>
          </a:p>
          <a:p>
            <a:pPr lvl="1"/>
            <a:r>
              <a:rPr lang="en-US" altLang="en-US" dirty="0">
                <a:solidFill>
                  <a:schemeClr val="tx1"/>
                </a:solidFill>
              </a:rPr>
              <a:t>No date for prospective return to work performing essential job functions with or without reasonable accommodations. </a:t>
            </a:r>
          </a:p>
          <a:p>
            <a:pPr lvl="1"/>
            <a:r>
              <a:rPr lang="en-US" altLang="en-US" dirty="0">
                <a:solidFill>
                  <a:schemeClr val="tx1"/>
                </a:solidFill>
              </a:rPr>
              <a:t>Salary cap impact?  </a:t>
            </a:r>
          </a:p>
          <a:p>
            <a:pPr lvl="1"/>
            <a:r>
              <a:rPr lang="en-US" altLang="en-US" dirty="0">
                <a:solidFill>
                  <a:schemeClr val="tx1"/>
                </a:solidFill>
              </a:rPr>
              <a:t>Major disruption of operations?</a:t>
            </a:r>
          </a:p>
          <a:p>
            <a:pPr lvl="1"/>
            <a:r>
              <a:rPr lang="en-US" altLang="en-US" dirty="0">
                <a:solidFill>
                  <a:schemeClr val="tx1"/>
                </a:solidFill>
              </a:rPr>
              <a:t>Can’t meet contractual obligations?</a:t>
            </a:r>
          </a:p>
        </p:txBody>
      </p:sp>
    </p:spTree>
    <p:extLst>
      <p:ext uri="{BB962C8B-B14F-4D97-AF65-F5344CB8AC3E}">
        <p14:creationId xmlns:p14="http://schemas.microsoft.com/office/powerpoint/2010/main" val="30513906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82581C-DB40-D46C-5A89-864989E59994}"/>
              </a:ext>
            </a:extLst>
          </p:cNvPr>
          <p:cNvSpPr>
            <a:spLocks noGrp="1"/>
          </p:cNvSpPr>
          <p:nvPr>
            <p:ph type="title"/>
          </p:nvPr>
        </p:nvSpPr>
        <p:spPr/>
        <p:txBody>
          <a:bodyPr>
            <a:normAutofit/>
          </a:bodyPr>
          <a:lstStyle/>
          <a:p>
            <a:r>
              <a:rPr lang="en-US" sz="4000" b="1" dirty="0"/>
              <a:t>BP #5 – Get Sufficient Information</a:t>
            </a:r>
          </a:p>
        </p:txBody>
      </p:sp>
      <p:sp>
        <p:nvSpPr>
          <p:cNvPr id="3" name="Content Placeholder 2">
            <a:extLst>
              <a:ext uri="{FF2B5EF4-FFF2-40B4-BE49-F238E27FC236}">
                <a16:creationId xmlns:a16="http://schemas.microsoft.com/office/drawing/2014/main" id="{BCE7AE22-1E65-5112-7CE7-49123ACD5D34}"/>
              </a:ext>
            </a:extLst>
          </p:cNvPr>
          <p:cNvSpPr>
            <a:spLocks noGrp="1"/>
          </p:cNvSpPr>
          <p:nvPr>
            <p:ph idx="1"/>
          </p:nvPr>
        </p:nvSpPr>
        <p:spPr/>
        <p:txBody>
          <a:bodyPr/>
          <a:lstStyle/>
          <a:p>
            <a:pPr marL="0" indent="0">
              <a:buNone/>
              <a:defRPr/>
            </a:pPr>
            <a:r>
              <a:rPr lang="en-US" altLang="en-US" dirty="0">
                <a:solidFill>
                  <a:schemeClr val="tx1"/>
                </a:solidFill>
              </a:rPr>
              <a:t>Accommodations decisions, whether on original request or reevaluation, must be evidence based.  Employers are entitled to “sufficient information” to make their decisions.  EEOC FAQ6.</a:t>
            </a:r>
          </a:p>
          <a:p>
            <a:pPr marL="0" indent="0">
              <a:buNone/>
              <a:defRPr/>
            </a:pPr>
            <a:endParaRPr lang="en-US" altLang="en-US" dirty="0">
              <a:solidFill>
                <a:schemeClr val="tx1"/>
              </a:solidFill>
            </a:endParaRPr>
          </a:p>
          <a:p>
            <a:pPr>
              <a:defRPr/>
            </a:pPr>
            <a:r>
              <a:rPr lang="en-US" altLang="en-US" dirty="0">
                <a:solidFill>
                  <a:schemeClr val="tx1"/>
                </a:solidFill>
              </a:rPr>
              <a:t>Medical information</a:t>
            </a:r>
          </a:p>
          <a:p>
            <a:pPr>
              <a:defRPr/>
            </a:pPr>
            <a:r>
              <a:rPr lang="en-US" altLang="en-US" dirty="0">
                <a:solidFill>
                  <a:schemeClr val="tx1"/>
                </a:solidFill>
              </a:rPr>
              <a:t>The employee’s statement/explanation about needs</a:t>
            </a:r>
          </a:p>
          <a:p>
            <a:pPr>
              <a:defRPr/>
            </a:pPr>
            <a:r>
              <a:rPr lang="en-US" altLang="en-US" dirty="0">
                <a:solidFill>
                  <a:schemeClr val="tx1"/>
                </a:solidFill>
              </a:rPr>
              <a:t>The needs of the business</a:t>
            </a:r>
          </a:p>
          <a:p>
            <a:pPr>
              <a:defRPr/>
            </a:pPr>
            <a:r>
              <a:rPr lang="en-US" altLang="en-US" dirty="0">
                <a:solidFill>
                  <a:schemeClr val="tx1"/>
                </a:solidFill>
              </a:rPr>
              <a:t>Availability of alternatives</a:t>
            </a:r>
          </a:p>
        </p:txBody>
      </p:sp>
    </p:spTree>
    <p:extLst>
      <p:ext uri="{BB962C8B-B14F-4D97-AF65-F5344CB8AC3E}">
        <p14:creationId xmlns:p14="http://schemas.microsoft.com/office/powerpoint/2010/main" val="34789218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86D30-0FCF-DE9B-3E05-8CB391094FCB}"/>
              </a:ext>
            </a:extLst>
          </p:cNvPr>
          <p:cNvSpPr>
            <a:spLocks noGrp="1"/>
          </p:cNvSpPr>
          <p:nvPr>
            <p:ph type="title"/>
          </p:nvPr>
        </p:nvSpPr>
        <p:spPr/>
        <p:txBody>
          <a:bodyPr>
            <a:normAutofit/>
          </a:bodyPr>
          <a:lstStyle/>
          <a:p>
            <a:r>
              <a:rPr lang="en-US" b="1" dirty="0"/>
              <a:t>Mistakes and lessons learned</a:t>
            </a:r>
          </a:p>
        </p:txBody>
      </p:sp>
      <p:sp>
        <p:nvSpPr>
          <p:cNvPr id="3" name="Content Placeholder 2">
            <a:extLst>
              <a:ext uri="{FF2B5EF4-FFF2-40B4-BE49-F238E27FC236}">
                <a16:creationId xmlns:a16="http://schemas.microsoft.com/office/drawing/2014/main" id="{D687868B-669B-4B93-9FC9-9622B0000C6E}"/>
              </a:ext>
            </a:extLst>
          </p:cNvPr>
          <p:cNvSpPr>
            <a:spLocks noGrp="1"/>
          </p:cNvSpPr>
          <p:nvPr>
            <p:ph idx="1"/>
          </p:nvPr>
        </p:nvSpPr>
        <p:spPr/>
        <p:txBody>
          <a:bodyPr/>
          <a:lstStyle/>
          <a:p>
            <a:r>
              <a:rPr lang="en-US" altLang="en-US" dirty="0">
                <a:solidFill>
                  <a:schemeClr val="tx1"/>
                </a:solidFill>
              </a:rPr>
              <a:t>Mistake:  Saying yes or no too quickly</a:t>
            </a:r>
          </a:p>
          <a:p>
            <a:endParaRPr lang="en-US" altLang="en-US" dirty="0">
              <a:solidFill>
                <a:schemeClr val="tx1"/>
              </a:solidFill>
            </a:endParaRPr>
          </a:p>
          <a:p>
            <a:r>
              <a:rPr lang="en-US" altLang="en-US" dirty="0">
                <a:solidFill>
                  <a:schemeClr val="tx1"/>
                </a:solidFill>
              </a:rPr>
              <a:t>Lessons Learned:  The process is critical.</a:t>
            </a:r>
          </a:p>
          <a:p>
            <a:endParaRPr lang="en-US" altLang="en-US" dirty="0">
              <a:solidFill>
                <a:schemeClr val="tx1"/>
              </a:solidFill>
            </a:endParaRPr>
          </a:p>
          <a:p>
            <a:pPr lvl="1"/>
            <a:r>
              <a:rPr lang="en-US" altLang="en-US" dirty="0">
                <a:solidFill>
                  <a:schemeClr val="tx1"/>
                </a:solidFill>
              </a:rPr>
              <a:t>Avoid the knee-jerk.  Always start with, “It depends.  I need to know more information.”  It will be very hard to defend a denial of a remote request if you do not engage in a deliberative process before reaching your decision. </a:t>
            </a:r>
          </a:p>
          <a:p>
            <a:pPr lvl="1"/>
            <a:r>
              <a:rPr lang="en-US" altLang="en-US" dirty="0">
                <a:solidFill>
                  <a:schemeClr val="tx1"/>
                </a:solidFill>
              </a:rPr>
              <a:t>On the flip side, “no good deed goes unpunished” – if you say “yes” to a star performer without kicking the tires, you may have made it more difficult to say “no” to the chronic underperformer in the same role.</a:t>
            </a:r>
          </a:p>
        </p:txBody>
      </p:sp>
    </p:spTree>
    <p:extLst>
      <p:ext uri="{BB962C8B-B14F-4D97-AF65-F5344CB8AC3E}">
        <p14:creationId xmlns:p14="http://schemas.microsoft.com/office/powerpoint/2010/main" val="8991954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345BDA-255B-22AE-183D-5700F1F7E238}"/>
              </a:ext>
            </a:extLst>
          </p:cNvPr>
          <p:cNvSpPr>
            <a:spLocks noGrp="1"/>
          </p:cNvSpPr>
          <p:nvPr>
            <p:ph type="title"/>
          </p:nvPr>
        </p:nvSpPr>
        <p:spPr/>
        <p:txBody>
          <a:bodyPr>
            <a:normAutofit/>
          </a:bodyPr>
          <a:lstStyle/>
          <a:p>
            <a:r>
              <a:rPr lang="en-US" sz="3600" b="1" dirty="0"/>
              <a:t>EEOC FAQ – Requesting Medical Information</a:t>
            </a:r>
          </a:p>
        </p:txBody>
      </p:sp>
      <p:sp>
        <p:nvSpPr>
          <p:cNvPr id="3" name="Content Placeholder 2">
            <a:extLst>
              <a:ext uri="{FF2B5EF4-FFF2-40B4-BE49-F238E27FC236}">
                <a16:creationId xmlns:a16="http://schemas.microsoft.com/office/drawing/2014/main" id="{09BD397F-477A-69CB-5676-1FC1A05A34A1}"/>
              </a:ext>
            </a:extLst>
          </p:cNvPr>
          <p:cNvSpPr>
            <a:spLocks noGrp="1"/>
          </p:cNvSpPr>
          <p:nvPr>
            <p:ph idx="1"/>
          </p:nvPr>
        </p:nvSpPr>
        <p:spPr/>
        <p:txBody>
          <a:bodyPr>
            <a:normAutofit lnSpcReduction="10000"/>
          </a:bodyPr>
          <a:lstStyle/>
          <a:p>
            <a:r>
              <a:rPr lang="en-US" altLang="en-US" dirty="0">
                <a:solidFill>
                  <a:schemeClr val="tx1"/>
                </a:solidFill>
              </a:rPr>
              <a:t>At </a:t>
            </a:r>
            <a:r>
              <a:rPr lang="en-US" altLang="en-US" b="1" dirty="0">
                <a:solidFill>
                  <a:schemeClr val="tx1"/>
                </a:solidFill>
              </a:rPr>
              <a:t>FN 23</a:t>
            </a:r>
            <a:r>
              <a:rPr lang="en-US" altLang="en-US" dirty="0">
                <a:solidFill>
                  <a:schemeClr val="tx1"/>
                </a:solidFill>
              </a:rPr>
              <a:t>:  “within the reasonable accommodation process “it is job-related and consistent with business necessity for an employer to ask an employee for reasonable documentation about his/her disability and its functional limitations.”</a:t>
            </a:r>
          </a:p>
          <a:p>
            <a:endParaRPr lang="en-US" altLang="en-US" dirty="0">
              <a:solidFill>
                <a:schemeClr val="tx1"/>
              </a:solidFill>
            </a:endParaRPr>
          </a:p>
          <a:p>
            <a:pPr>
              <a:buFont typeface="Wingdings" panose="05000000000000000000" pitchFamily="2" charset="2"/>
              <a:buChar char="è"/>
            </a:pPr>
            <a:r>
              <a:rPr lang="en-US" altLang="en-US" dirty="0">
                <a:solidFill>
                  <a:schemeClr val="tx1"/>
                </a:solidFill>
                <a:sym typeface="Wingdings" panose="05000000000000000000" pitchFamily="2" charset="2"/>
              </a:rPr>
              <a:t>Although ER may not engage in fishing expeditions to undermine an EE’s request for accommodations, the EEOC explains that an ER may require an employee to go to a health care provider of the ER’s choice where the EE provides insufficient documentation and does not provide the missing information in a timely manner after being alerted to the insufficiency.</a:t>
            </a:r>
          </a:p>
          <a:p>
            <a:endParaRPr lang="en-US" dirty="0"/>
          </a:p>
        </p:txBody>
      </p:sp>
    </p:spTree>
    <p:extLst>
      <p:ext uri="{BB962C8B-B14F-4D97-AF65-F5344CB8AC3E}">
        <p14:creationId xmlns:p14="http://schemas.microsoft.com/office/powerpoint/2010/main" val="1578209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8B2BCB-3980-274C-2102-56696B047DFB}"/>
              </a:ext>
            </a:extLst>
          </p:cNvPr>
          <p:cNvSpPr>
            <a:spLocks noGrp="1"/>
          </p:cNvSpPr>
          <p:nvPr>
            <p:ph type="title"/>
          </p:nvPr>
        </p:nvSpPr>
        <p:spPr/>
        <p:txBody>
          <a:bodyPr>
            <a:normAutofit/>
          </a:bodyPr>
          <a:lstStyle/>
          <a:p>
            <a:r>
              <a:rPr lang="en-US" b="1" dirty="0"/>
              <a:t>Mistakes and lessons learned</a:t>
            </a:r>
          </a:p>
        </p:txBody>
      </p:sp>
      <p:sp>
        <p:nvSpPr>
          <p:cNvPr id="3" name="Content Placeholder 2">
            <a:extLst>
              <a:ext uri="{FF2B5EF4-FFF2-40B4-BE49-F238E27FC236}">
                <a16:creationId xmlns:a16="http://schemas.microsoft.com/office/drawing/2014/main" id="{8E44D768-569D-1149-84E6-22D67ECC5DCA}"/>
              </a:ext>
            </a:extLst>
          </p:cNvPr>
          <p:cNvSpPr>
            <a:spLocks noGrp="1"/>
          </p:cNvSpPr>
          <p:nvPr>
            <p:ph idx="1"/>
          </p:nvPr>
        </p:nvSpPr>
        <p:spPr/>
        <p:txBody>
          <a:bodyPr>
            <a:normAutofit lnSpcReduction="10000"/>
          </a:bodyPr>
          <a:lstStyle/>
          <a:p>
            <a:r>
              <a:rPr lang="en-US" altLang="en-US" dirty="0">
                <a:solidFill>
                  <a:schemeClr val="tx1"/>
                </a:solidFill>
              </a:rPr>
              <a:t>Mistake:  Failing to keep the EE in the loop.</a:t>
            </a:r>
          </a:p>
          <a:p>
            <a:endParaRPr lang="en-US" altLang="en-US" dirty="0">
              <a:solidFill>
                <a:schemeClr val="tx1"/>
              </a:solidFill>
            </a:endParaRPr>
          </a:p>
          <a:p>
            <a:r>
              <a:rPr lang="en-US" altLang="en-US" dirty="0">
                <a:solidFill>
                  <a:schemeClr val="tx1"/>
                </a:solidFill>
              </a:rPr>
              <a:t>Lessons Learned:  Address requests for medical documentation to the EE and require the EE to follow up with her doctor. </a:t>
            </a:r>
          </a:p>
          <a:p>
            <a:pPr lvl="1"/>
            <a:r>
              <a:rPr lang="en-US" altLang="en-US" dirty="0">
                <a:solidFill>
                  <a:schemeClr val="tx1"/>
                </a:solidFill>
              </a:rPr>
              <a:t>Maintain confidentiality of medical information</a:t>
            </a:r>
          </a:p>
          <a:p>
            <a:pPr lvl="1"/>
            <a:r>
              <a:rPr lang="en-US" altLang="en-US" dirty="0">
                <a:solidFill>
                  <a:schemeClr val="tx1"/>
                </a:solidFill>
              </a:rPr>
              <a:t>Use HR to communicate with medical offices when necessary – not supervisors. </a:t>
            </a:r>
          </a:p>
          <a:p>
            <a:pPr lvl="1"/>
            <a:r>
              <a:rPr lang="en-US" altLang="en-US" dirty="0">
                <a:solidFill>
                  <a:schemeClr val="tx1"/>
                </a:solidFill>
              </a:rPr>
              <a:t>The EE needs to engage in the interactive process.  Not her doctor. Remind EE and hold her responsible for providing medical support for her requests.</a:t>
            </a:r>
          </a:p>
          <a:p>
            <a:pPr lvl="1"/>
            <a:r>
              <a:rPr lang="en-US" altLang="en-US" dirty="0">
                <a:solidFill>
                  <a:schemeClr val="tx1"/>
                </a:solidFill>
              </a:rPr>
              <a:t>Share the job description and any questions you would like the doctor to answer with the EE so EE can easily share with her doctor.</a:t>
            </a:r>
          </a:p>
        </p:txBody>
      </p:sp>
    </p:spTree>
    <p:extLst>
      <p:ext uri="{BB962C8B-B14F-4D97-AF65-F5344CB8AC3E}">
        <p14:creationId xmlns:p14="http://schemas.microsoft.com/office/powerpoint/2010/main" val="247524305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114663-35A8-94B0-0166-954C82F71FCA}"/>
              </a:ext>
            </a:extLst>
          </p:cNvPr>
          <p:cNvSpPr>
            <a:spLocks noGrp="1"/>
          </p:cNvSpPr>
          <p:nvPr>
            <p:ph type="title"/>
          </p:nvPr>
        </p:nvSpPr>
        <p:spPr/>
        <p:txBody>
          <a:bodyPr>
            <a:normAutofit/>
          </a:bodyPr>
          <a:lstStyle/>
          <a:p>
            <a:r>
              <a:rPr lang="en-US" b="1" dirty="0"/>
              <a:t>Mistakes and lessons learned</a:t>
            </a:r>
          </a:p>
        </p:txBody>
      </p:sp>
      <p:sp>
        <p:nvSpPr>
          <p:cNvPr id="3" name="Content Placeholder 2">
            <a:extLst>
              <a:ext uri="{FF2B5EF4-FFF2-40B4-BE49-F238E27FC236}">
                <a16:creationId xmlns:a16="http://schemas.microsoft.com/office/drawing/2014/main" id="{3C89DFC3-58FA-38FA-13E1-B5740D56A30A}"/>
              </a:ext>
            </a:extLst>
          </p:cNvPr>
          <p:cNvSpPr>
            <a:spLocks noGrp="1"/>
          </p:cNvSpPr>
          <p:nvPr>
            <p:ph idx="1"/>
          </p:nvPr>
        </p:nvSpPr>
        <p:spPr/>
        <p:txBody>
          <a:bodyPr/>
          <a:lstStyle/>
          <a:p>
            <a:r>
              <a:rPr lang="en-US" altLang="en-US" dirty="0">
                <a:solidFill>
                  <a:schemeClr val="tx1"/>
                </a:solidFill>
              </a:rPr>
              <a:t>Mistake:  Assuming all relevant facts were shared.  </a:t>
            </a:r>
          </a:p>
          <a:p>
            <a:endParaRPr lang="en-US" altLang="en-US" dirty="0">
              <a:solidFill>
                <a:schemeClr val="tx1"/>
              </a:solidFill>
            </a:endParaRPr>
          </a:p>
          <a:p>
            <a:r>
              <a:rPr lang="en-US" altLang="en-US" dirty="0">
                <a:solidFill>
                  <a:schemeClr val="tx1"/>
                </a:solidFill>
              </a:rPr>
              <a:t>Lessons Learned:  Review job description, ask questions to understand the nuances.  Ask your clients the hard questions, such as “When did you change this job description to say ‘kicking required” or “no remote work’?” and “Did you do this for others in the same position?”  Find out what other EEs under the same supervision or in the same job category are doing.</a:t>
            </a:r>
          </a:p>
        </p:txBody>
      </p:sp>
    </p:spTree>
    <p:extLst>
      <p:ext uri="{BB962C8B-B14F-4D97-AF65-F5344CB8AC3E}">
        <p14:creationId xmlns:p14="http://schemas.microsoft.com/office/powerpoint/2010/main" val="345118294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48AB9C-B79F-A97D-D00C-50245DD3A132}"/>
              </a:ext>
            </a:extLst>
          </p:cNvPr>
          <p:cNvSpPr>
            <a:spLocks noGrp="1"/>
          </p:cNvSpPr>
          <p:nvPr>
            <p:ph type="title"/>
          </p:nvPr>
        </p:nvSpPr>
        <p:spPr/>
        <p:txBody>
          <a:bodyPr>
            <a:noAutofit/>
          </a:bodyPr>
          <a:lstStyle/>
          <a:p>
            <a:r>
              <a:rPr lang="en-US" sz="3600" b="1" dirty="0"/>
              <a:t>Draft Day Hypo 6 – </a:t>
            </a:r>
            <a:br>
              <a:rPr lang="en-US" sz="3600" b="1" dirty="0"/>
            </a:br>
            <a:r>
              <a:rPr lang="en-US" sz="3600" b="1" dirty="0"/>
              <a:t>New Coach Wants to Change the Goalposts</a:t>
            </a:r>
          </a:p>
        </p:txBody>
      </p:sp>
      <p:sp>
        <p:nvSpPr>
          <p:cNvPr id="3" name="Content Placeholder 2">
            <a:extLst>
              <a:ext uri="{FF2B5EF4-FFF2-40B4-BE49-F238E27FC236}">
                <a16:creationId xmlns:a16="http://schemas.microsoft.com/office/drawing/2014/main" id="{107D9BA9-4DDA-CA39-E11C-6442C6E33BC2}"/>
              </a:ext>
            </a:extLst>
          </p:cNvPr>
          <p:cNvSpPr>
            <a:spLocks noGrp="1"/>
          </p:cNvSpPr>
          <p:nvPr>
            <p:ph idx="1"/>
          </p:nvPr>
        </p:nvSpPr>
        <p:spPr/>
        <p:txBody>
          <a:bodyPr/>
          <a:lstStyle/>
          <a:p>
            <a:r>
              <a:rPr lang="en-US" altLang="en-US" dirty="0">
                <a:solidFill>
                  <a:schemeClr val="tx1"/>
                </a:solidFill>
              </a:rPr>
              <a:t>A new coach has pressured HR to revisit accommodations granted to Prospect, reasoning that if Prospect still cannot kick this season, the team would be better off hiring someone who can and might be able to hire someone better if they didn’t have to pay Prospect’s salary too.</a:t>
            </a:r>
          </a:p>
          <a:p>
            <a:pPr marL="0" indent="0">
              <a:buNone/>
            </a:pPr>
            <a:r>
              <a:rPr lang="en-US" altLang="en-US" dirty="0">
                <a:solidFill>
                  <a:schemeClr val="tx1"/>
                </a:solidFill>
              </a:rPr>
              <a:t>  </a:t>
            </a:r>
          </a:p>
          <a:p>
            <a:r>
              <a:rPr lang="en-US" altLang="en-US" dirty="0">
                <a:solidFill>
                  <a:schemeClr val="tx1"/>
                </a:solidFill>
              </a:rPr>
              <a:t>Can accommodations once granted be revoked/reconsidered/ revamped?</a:t>
            </a:r>
          </a:p>
          <a:p>
            <a:endParaRPr lang="en-US" dirty="0"/>
          </a:p>
        </p:txBody>
      </p:sp>
    </p:spTree>
    <p:extLst>
      <p:ext uri="{BB962C8B-B14F-4D97-AF65-F5344CB8AC3E}">
        <p14:creationId xmlns:p14="http://schemas.microsoft.com/office/powerpoint/2010/main" val="173233080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60A389-2283-DA56-04D8-64D94F1332C9}"/>
              </a:ext>
            </a:extLst>
          </p:cNvPr>
          <p:cNvSpPr>
            <a:spLocks noGrp="1"/>
          </p:cNvSpPr>
          <p:nvPr>
            <p:ph type="title"/>
          </p:nvPr>
        </p:nvSpPr>
        <p:spPr/>
        <p:txBody>
          <a:bodyPr>
            <a:normAutofit/>
          </a:bodyPr>
          <a:lstStyle/>
          <a:p>
            <a:r>
              <a:rPr lang="en-US" sz="4000" b="1" dirty="0"/>
              <a:t>Revisiting Approved Accommodations</a:t>
            </a:r>
          </a:p>
        </p:txBody>
      </p:sp>
      <p:sp>
        <p:nvSpPr>
          <p:cNvPr id="3" name="Content Placeholder 2">
            <a:extLst>
              <a:ext uri="{FF2B5EF4-FFF2-40B4-BE49-F238E27FC236}">
                <a16:creationId xmlns:a16="http://schemas.microsoft.com/office/drawing/2014/main" id="{8C809B4B-7E7F-C61C-CD3C-ABC3B9FFC3B9}"/>
              </a:ext>
            </a:extLst>
          </p:cNvPr>
          <p:cNvSpPr>
            <a:spLocks noGrp="1"/>
          </p:cNvSpPr>
          <p:nvPr>
            <p:ph idx="1"/>
          </p:nvPr>
        </p:nvSpPr>
        <p:spPr/>
        <p:txBody>
          <a:bodyPr/>
          <a:lstStyle/>
          <a:p>
            <a:pPr>
              <a:defRPr/>
            </a:pPr>
            <a:r>
              <a:rPr lang="en-US" altLang="en-US" dirty="0">
                <a:solidFill>
                  <a:schemeClr val="tx1"/>
                </a:solidFill>
              </a:rPr>
              <a:t>Yes. </a:t>
            </a:r>
          </a:p>
          <a:p>
            <a:pPr lvl="1">
              <a:defRPr/>
            </a:pPr>
            <a:r>
              <a:rPr lang="en-US" altLang="en-US" dirty="0">
                <a:solidFill>
                  <a:schemeClr val="tx1"/>
                </a:solidFill>
              </a:rPr>
              <a:t>The fact that an employer temporarily excused performance of one or more essential functions when it closed the workplace and enabled employees to telework for the purpose of protecting their safety from COVID-19, or otherwise chose to permit telework, does not mean that the employer permanently changed a job’s essential functions, that telework is always a feasible accommodation, or that it does not pose an undue hardship. These are fact-specific determinations. The employer has no obligation under the [Act] to refrain from restoring all of an employee’s essential duties at such time as it chooses to restore the prior work arrangement and then evaluating any requests for continued or new accommodations under the usual . . . rules.”  </a:t>
            </a:r>
            <a:r>
              <a:rPr lang="en-US" altLang="en-US" b="1" dirty="0">
                <a:solidFill>
                  <a:schemeClr val="tx1"/>
                </a:solidFill>
              </a:rPr>
              <a:t>FAQ 10.</a:t>
            </a:r>
          </a:p>
        </p:txBody>
      </p:sp>
    </p:spTree>
    <p:extLst>
      <p:ext uri="{BB962C8B-B14F-4D97-AF65-F5344CB8AC3E}">
        <p14:creationId xmlns:p14="http://schemas.microsoft.com/office/powerpoint/2010/main" val="26987398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4EF5CD-D529-BC31-AF57-E0FA23A5568D}"/>
              </a:ext>
            </a:extLst>
          </p:cNvPr>
          <p:cNvSpPr>
            <a:spLocks noGrp="1"/>
          </p:cNvSpPr>
          <p:nvPr>
            <p:ph type="title"/>
          </p:nvPr>
        </p:nvSpPr>
        <p:spPr/>
        <p:txBody>
          <a:bodyPr>
            <a:normAutofit/>
          </a:bodyPr>
          <a:lstStyle/>
          <a:p>
            <a:r>
              <a:rPr lang="en-US" sz="4000" dirty="0"/>
              <a:t>Legal Landscape – the Framework</a:t>
            </a:r>
          </a:p>
        </p:txBody>
      </p:sp>
      <p:sp>
        <p:nvSpPr>
          <p:cNvPr id="3" name="Content Placeholder 2">
            <a:extLst>
              <a:ext uri="{FF2B5EF4-FFF2-40B4-BE49-F238E27FC236}">
                <a16:creationId xmlns:a16="http://schemas.microsoft.com/office/drawing/2014/main" id="{08B00698-83AF-95F0-22C0-56ADE2B00D6B}"/>
              </a:ext>
            </a:extLst>
          </p:cNvPr>
          <p:cNvSpPr>
            <a:spLocks noGrp="1"/>
          </p:cNvSpPr>
          <p:nvPr>
            <p:ph idx="1"/>
          </p:nvPr>
        </p:nvSpPr>
        <p:spPr/>
        <p:txBody>
          <a:bodyPr/>
          <a:lstStyle/>
          <a:p>
            <a:pPr marL="0" indent="0">
              <a:buNone/>
            </a:pPr>
            <a:r>
              <a:rPr lang="en-US" sz="3600" dirty="0">
                <a:solidFill>
                  <a:schemeClr val="tx1"/>
                </a:solidFill>
              </a:rPr>
              <a:t>Employers must make </a:t>
            </a:r>
            <a:r>
              <a:rPr lang="en-US" sz="3600" b="1" dirty="0">
                <a:solidFill>
                  <a:schemeClr val="tx1"/>
                </a:solidFill>
              </a:rPr>
              <a:t>reasonable accommodations </a:t>
            </a:r>
            <a:r>
              <a:rPr lang="en-US" sz="3600" dirty="0">
                <a:solidFill>
                  <a:schemeClr val="tx1"/>
                </a:solidFill>
              </a:rPr>
              <a:t>to enable qualified individuals with </a:t>
            </a:r>
            <a:r>
              <a:rPr lang="en-US" sz="3600" b="1" dirty="0">
                <a:solidFill>
                  <a:schemeClr val="tx1"/>
                </a:solidFill>
              </a:rPr>
              <a:t>disabilities to perform their essential job functions</a:t>
            </a:r>
            <a:r>
              <a:rPr lang="en-US" sz="3600" dirty="0">
                <a:solidFill>
                  <a:schemeClr val="tx1"/>
                </a:solidFill>
              </a:rPr>
              <a:t>, unless to do so would be an </a:t>
            </a:r>
            <a:r>
              <a:rPr lang="en-US" sz="3600" b="1" dirty="0">
                <a:solidFill>
                  <a:schemeClr val="tx1"/>
                </a:solidFill>
              </a:rPr>
              <a:t>undue hardship.</a:t>
            </a:r>
          </a:p>
          <a:p>
            <a:endParaRPr lang="en-US" dirty="0"/>
          </a:p>
        </p:txBody>
      </p:sp>
    </p:spTree>
    <p:extLst>
      <p:ext uri="{BB962C8B-B14F-4D97-AF65-F5344CB8AC3E}">
        <p14:creationId xmlns:p14="http://schemas.microsoft.com/office/powerpoint/2010/main" val="383261971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6C7C58-8807-B20C-EA66-DE102E3F8678}"/>
              </a:ext>
            </a:extLst>
          </p:cNvPr>
          <p:cNvSpPr>
            <a:spLocks noGrp="1"/>
          </p:cNvSpPr>
          <p:nvPr>
            <p:ph type="title"/>
          </p:nvPr>
        </p:nvSpPr>
        <p:spPr/>
        <p:txBody>
          <a:bodyPr>
            <a:normAutofit fontScale="90000"/>
          </a:bodyPr>
          <a:lstStyle/>
          <a:p>
            <a:r>
              <a:rPr lang="en-US" sz="3200" b="1" dirty="0"/>
              <a:t>EEOC FAQ – Make Fact-Specific, Informed Decisions Prior to Changing Up Previously-Approved Accommodations</a:t>
            </a:r>
          </a:p>
        </p:txBody>
      </p:sp>
      <p:sp>
        <p:nvSpPr>
          <p:cNvPr id="3" name="Content Placeholder 2">
            <a:extLst>
              <a:ext uri="{FF2B5EF4-FFF2-40B4-BE49-F238E27FC236}">
                <a16:creationId xmlns:a16="http://schemas.microsoft.com/office/drawing/2014/main" id="{D989F8D4-5994-8860-7E2C-F0B5E7E5EEB3}"/>
              </a:ext>
            </a:extLst>
          </p:cNvPr>
          <p:cNvSpPr>
            <a:spLocks noGrp="1"/>
          </p:cNvSpPr>
          <p:nvPr>
            <p:ph idx="1"/>
          </p:nvPr>
        </p:nvSpPr>
        <p:spPr/>
        <p:txBody>
          <a:bodyPr/>
          <a:lstStyle/>
          <a:p>
            <a:endParaRPr lang="en-US" altLang="en-US" dirty="0">
              <a:solidFill>
                <a:schemeClr val="tx1"/>
              </a:solidFill>
            </a:endParaRPr>
          </a:p>
          <a:p>
            <a:r>
              <a:rPr lang="en-US" altLang="en-US" dirty="0">
                <a:solidFill>
                  <a:schemeClr val="tx1"/>
                </a:solidFill>
              </a:rPr>
              <a:t>“We strongly caution agencies against revoking previously granted telework without first making an individualized determination in each case.”</a:t>
            </a:r>
          </a:p>
        </p:txBody>
      </p:sp>
    </p:spTree>
    <p:extLst>
      <p:ext uri="{BB962C8B-B14F-4D97-AF65-F5344CB8AC3E}">
        <p14:creationId xmlns:p14="http://schemas.microsoft.com/office/powerpoint/2010/main" val="97803749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51E731-8CE1-9EFD-63F7-7E8E90B55AC4}"/>
              </a:ext>
            </a:extLst>
          </p:cNvPr>
          <p:cNvSpPr>
            <a:spLocks noGrp="1"/>
          </p:cNvSpPr>
          <p:nvPr>
            <p:ph type="title"/>
          </p:nvPr>
        </p:nvSpPr>
        <p:spPr/>
        <p:txBody>
          <a:bodyPr>
            <a:normAutofit fontScale="90000"/>
          </a:bodyPr>
          <a:lstStyle/>
          <a:p>
            <a:r>
              <a:rPr lang="en-US" sz="4000" b="1" dirty="0"/>
              <a:t>Does Once Approved = Always Reasonable?</a:t>
            </a:r>
          </a:p>
        </p:txBody>
      </p:sp>
      <p:sp>
        <p:nvSpPr>
          <p:cNvPr id="3" name="Content Placeholder 2">
            <a:extLst>
              <a:ext uri="{FF2B5EF4-FFF2-40B4-BE49-F238E27FC236}">
                <a16:creationId xmlns:a16="http://schemas.microsoft.com/office/drawing/2014/main" id="{CDDAD574-8D78-429A-F980-A9C07640421E}"/>
              </a:ext>
            </a:extLst>
          </p:cNvPr>
          <p:cNvSpPr>
            <a:spLocks noGrp="1"/>
          </p:cNvSpPr>
          <p:nvPr>
            <p:ph idx="1"/>
          </p:nvPr>
        </p:nvSpPr>
        <p:spPr/>
        <p:txBody>
          <a:bodyPr/>
          <a:lstStyle/>
          <a:p>
            <a:r>
              <a:rPr lang="en-US" altLang="en-US" dirty="0">
                <a:solidFill>
                  <a:schemeClr val="tx1"/>
                </a:solidFill>
              </a:rPr>
              <a:t>Not so.  </a:t>
            </a:r>
          </a:p>
          <a:p>
            <a:endParaRPr lang="en-US" altLang="en-US" dirty="0">
              <a:solidFill>
                <a:schemeClr val="tx1"/>
              </a:solidFill>
            </a:endParaRPr>
          </a:p>
          <a:p>
            <a:r>
              <a:rPr lang="en-US" altLang="en-US" i="1" dirty="0">
                <a:solidFill>
                  <a:schemeClr val="tx1"/>
                </a:solidFill>
              </a:rPr>
              <a:t>See, e.g.</a:t>
            </a:r>
            <a:r>
              <a:rPr lang="en-US" altLang="en-US" dirty="0">
                <a:solidFill>
                  <a:schemeClr val="tx1"/>
                </a:solidFill>
              </a:rPr>
              <a:t>, </a:t>
            </a:r>
            <a:r>
              <a:rPr lang="en-US" altLang="en-US" i="1" dirty="0">
                <a:solidFill>
                  <a:schemeClr val="tx1"/>
                </a:solidFill>
              </a:rPr>
              <a:t>Perdue v. Sanofi-Aventis U.S., LLC</a:t>
            </a:r>
            <a:r>
              <a:rPr lang="en-US" altLang="en-US" dirty="0">
                <a:solidFill>
                  <a:schemeClr val="tx1"/>
                </a:solidFill>
              </a:rPr>
              <a:t>, 999 F.3d 954, 961 (4th Cir. 2021) (“We applaud [the employer] for going beyond its legal obligations under the [statute] in accommodating [the employee’s] recovery. . . . But its generosity and overall flexibility does not raise the legal standard.”).</a:t>
            </a:r>
          </a:p>
        </p:txBody>
      </p:sp>
    </p:spTree>
    <p:extLst>
      <p:ext uri="{BB962C8B-B14F-4D97-AF65-F5344CB8AC3E}">
        <p14:creationId xmlns:p14="http://schemas.microsoft.com/office/powerpoint/2010/main" val="376673905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8AC70D-2C70-2C79-351C-B4864C884761}"/>
              </a:ext>
            </a:extLst>
          </p:cNvPr>
          <p:cNvSpPr>
            <a:spLocks noGrp="1"/>
          </p:cNvSpPr>
          <p:nvPr>
            <p:ph type="title"/>
          </p:nvPr>
        </p:nvSpPr>
        <p:spPr/>
        <p:txBody>
          <a:bodyPr>
            <a:normAutofit/>
          </a:bodyPr>
          <a:lstStyle/>
          <a:p>
            <a:r>
              <a:rPr lang="en-US" b="1" dirty="0"/>
              <a:t>BP #6 – No Request is Ever Final</a:t>
            </a:r>
          </a:p>
        </p:txBody>
      </p:sp>
      <p:sp>
        <p:nvSpPr>
          <p:cNvPr id="3" name="Content Placeholder 2">
            <a:extLst>
              <a:ext uri="{FF2B5EF4-FFF2-40B4-BE49-F238E27FC236}">
                <a16:creationId xmlns:a16="http://schemas.microsoft.com/office/drawing/2014/main" id="{506DAA99-030A-72BF-00B0-B7FF256B7235}"/>
              </a:ext>
            </a:extLst>
          </p:cNvPr>
          <p:cNvSpPr>
            <a:spLocks noGrp="1"/>
          </p:cNvSpPr>
          <p:nvPr>
            <p:ph idx="1"/>
          </p:nvPr>
        </p:nvSpPr>
        <p:spPr/>
        <p:txBody>
          <a:bodyPr/>
          <a:lstStyle/>
          <a:p>
            <a:endParaRPr lang="en-US" altLang="en-US" dirty="0">
              <a:solidFill>
                <a:schemeClr val="tx1"/>
              </a:solidFill>
            </a:endParaRPr>
          </a:p>
          <a:p>
            <a:r>
              <a:rPr lang="en-US" altLang="en-US" dirty="0">
                <a:solidFill>
                  <a:schemeClr val="tx1"/>
                </a:solidFill>
              </a:rPr>
              <a:t>EEs too can repeatedly ask for similar or completely new accommodations.  Each time, it is best practice to return to the interactive process.</a:t>
            </a:r>
            <a:endParaRPr lang="en-US" dirty="0">
              <a:solidFill>
                <a:schemeClr val="tx1"/>
              </a:solidFill>
            </a:endParaRPr>
          </a:p>
        </p:txBody>
      </p:sp>
    </p:spTree>
    <p:extLst>
      <p:ext uri="{BB962C8B-B14F-4D97-AF65-F5344CB8AC3E}">
        <p14:creationId xmlns:p14="http://schemas.microsoft.com/office/powerpoint/2010/main" val="303081134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0B1F94-AAC1-F4B4-521A-ACE538FF8E4D}"/>
              </a:ext>
            </a:extLst>
          </p:cNvPr>
          <p:cNvSpPr>
            <a:spLocks noGrp="1"/>
          </p:cNvSpPr>
          <p:nvPr>
            <p:ph type="title"/>
          </p:nvPr>
        </p:nvSpPr>
        <p:spPr/>
        <p:txBody>
          <a:bodyPr>
            <a:normAutofit/>
          </a:bodyPr>
          <a:lstStyle/>
          <a:p>
            <a:r>
              <a:rPr lang="en-US" b="1" dirty="0"/>
              <a:t>BP #7 – Don’t Skip the Process</a:t>
            </a:r>
          </a:p>
        </p:txBody>
      </p:sp>
      <p:sp>
        <p:nvSpPr>
          <p:cNvPr id="3" name="Content Placeholder 2">
            <a:extLst>
              <a:ext uri="{FF2B5EF4-FFF2-40B4-BE49-F238E27FC236}">
                <a16:creationId xmlns:a16="http://schemas.microsoft.com/office/drawing/2014/main" id="{56B45BD8-C088-A0A2-43E4-9CF80E65C132}"/>
              </a:ext>
            </a:extLst>
          </p:cNvPr>
          <p:cNvSpPr>
            <a:spLocks noGrp="1"/>
          </p:cNvSpPr>
          <p:nvPr>
            <p:ph idx="1"/>
          </p:nvPr>
        </p:nvSpPr>
        <p:spPr/>
        <p:txBody>
          <a:bodyPr/>
          <a:lstStyle/>
          <a:p>
            <a:r>
              <a:rPr lang="en-US" altLang="en-US" dirty="0">
                <a:solidFill>
                  <a:schemeClr val="tx1"/>
                </a:solidFill>
              </a:rPr>
              <a:t>Even where the ER has recently made a decision about this type of request or about this employee, it is important to create an individualized interactive, fact-gathering process for each request. </a:t>
            </a:r>
          </a:p>
          <a:p>
            <a:endParaRPr lang="en-US" altLang="en-US" dirty="0">
              <a:solidFill>
                <a:schemeClr val="tx1"/>
              </a:solidFill>
            </a:endParaRPr>
          </a:p>
          <a:p>
            <a:r>
              <a:rPr lang="en-US" altLang="en-US" dirty="0">
                <a:solidFill>
                  <a:schemeClr val="tx1"/>
                </a:solidFill>
              </a:rPr>
              <a:t>The interactive process is meant to be collaborative.  The HR decision maker should collect and consider (and document this process) information from (1) the employee and (2) the employee’s health care provider about the employee’s specific needs, and (3) the business including the employee’s supervisor.</a:t>
            </a:r>
          </a:p>
        </p:txBody>
      </p:sp>
    </p:spTree>
    <p:extLst>
      <p:ext uri="{BB962C8B-B14F-4D97-AF65-F5344CB8AC3E}">
        <p14:creationId xmlns:p14="http://schemas.microsoft.com/office/powerpoint/2010/main" val="219750576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1DD50-162C-4AFB-0459-F84BDF756872}"/>
              </a:ext>
            </a:extLst>
          </p:cNvPr>
          <p:cNvSpPr>
            <a:spLocks noGrp="1"/>
          </p:cNvSpPr>
          <p:nvPr>
            <p:ph type="title"/>
          </p:nvPr>
        </p:nvSpPr>
        <p:spPr/>
        <p:txBody>
          <a:bodyPr>
            <a:noAutofit/>
          </a:bodyPr>
          <a:lstStyle/>
          <a:p>
            <a:r>
              <a:rPr lang="en-US" sz="3200" b="1" dirty="0"/>
              <a:t>BP #8 – Don’t Drop the Ball on the Interactive Process</a:t>
            </a:r>
          </a:p>
        </p:txBody>
      </p:sp>
      <p:sp>
        <p:nvSpPr>
          <p:cNvPr id="3" name="Content Placeholder 2">
            <a:extLst>
              <a:ext uri="{FF2B5EF4-FFF2-40B4-BE49-F238E27FC236}">
                <a16:creationId xmlns:a16="http://schemas.microsoft.com/office/drawing/2014/main" id="{2A1C7010-9147-2DC7-F12D-F6FC817C6DB3}"/>
              </a:ext>
            </a:extLst>
          </p:cNvPr>
          <p:cNvSpPr>
            <a:spLocks noGrp="1"/>
          </p:cNvSpPr>
          <p:nvPr>
            <p:ph idx="1"/>
          </p:nvPr>
        </p:nvSpPr>
        <p:spPr/>
        <p:txBody>
          <a:bodyPr/>
          <a:lstStyle/>
          <a:p>
            <a:r>
              <a:rPr lang="en-US" altLang="en-US" dirty="0">
                <a:solidFill>
                  <a:schemeClr val="tx1"/>
                </a:solidFill>
              </a:rPr>
              <a:t>Close the process.  Each communication should clarify the status of the accommodation (pending, temporarily approved, awaiting medical documentation, approved, denied).  Temporary accommodations with check-ins are okay until the process is resolved. </a:t>
            </a:r>
          </a:p>
          <a:p>
            <a:endParaRPr lang="en-US" altLang="en-US" dirty="0">
              <a:solidFill>
                <a:schemeClr val="tx1"/>
              </a:solidFill>
            </a:endParaRPr>
          </a:p>
          <a:p>
            <a:r>
              <a:rPr lang="en-US" altLang="en-US" dirty="0">
                <a:solidFill>
                  <a:schemeClr val="tx1"/>
                </a:solidFill>
              </a:rPr>
              <a:t>Document, document, document.  </a:t>
            </a:r>
          </a:p>
          <a:p>
            <a:endParaRPr lang="en-US" altLang="en-US" dirty="0">
              <a:solidFill>
                <a:schemeClr val="tx1"/>
              </a:solidFill>
            </a:endParaRPr>
          </a:p>
          <a:p>
            <a:r>
              <a:rPr lang="en-US" altLang="en-US" dirty="0">
                <a:solidFill>
                  <a:schemeClr val="tx1"/>
                </a:solidFill>
              </a:rPr>
              <a:t>Respond to EE’s inquiries.  Send reminders if EE doesn’t timely respond to ER’s inquiries.</a:t>
            </a:r>
            <a:endParaRPr lang="en-US" dirty="0">
              <a:solidFill>
                <a:schemeClr val="tx1"/>
              </a:solidFill>
            </a:endParaRPr>
          </a:p>
        </p:txBody>
      </p:sp>
    </p:spTree>
    <p:extLst>
      <p:ext uri="{BB962C8B-B14F-4D97-AF65-F5344CB8AC3E}">
        <p14:creationId xmlns:p14="http://schemas.microsoft.com/office/powerpoint/2010/main" val="167463727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7F1D2B-42B4-E482-12D4-12C4D3307FBC}"/>
              </a:ext>
            </a:extLst>
          </p:cNvPr>
          <p:cNvSpPr>
            <a:spLocks noGrp="1"/>
          </p:cNvSpPr>
          <p:nvPr>
            <p:ph type="title"/>
          </p:nvPr>
        </p:nvSpPr>
        <p:spPr/>
        <p:txBody>
          <a:bodyPr>
            <a:normAutofit/>
          </a:bodyPr>
          <a:lstStyle/>
          <a:p>
            <a:r>
              <a:rPr lang="en-US" b="1" dirty="0"/>
              <a:t>BP #9 – Show your Work</a:t>
            </a:r>
          </a:p>
        </p:txBody>
      </p:sp>
      <p:sp>
        <p:nvSpPr>
          <p:cNvPr id="3" name="Content Placeholder 2">
            <a:extLst>
              <a:ext uri="{FF2B5EF4-FFF2-40B4-BE49-F238E27FC236}">
                <a16:creationId xmlns:a16="http://schemas.microsoft.com/office/drawing/2014/main" id="{D26DFE5C-8F11-18DE-C530-8C3D19D131BF}"/>
              </a:ext>
            </a:extLst>
          </p:cNvPr>
          <p:cNvSpPr>
            <a:spLocks noGrp="1"/>
          </p:cNvSpPr>
          <p:nvPr>
            <p:ph idx="1"/>
          </p:nvPr>
        </p:nvSpPr>
        <p:spPr/>
        <p:txBody>
          <a:bodyPr/>
          <a:lstStyle/>
          <a:p>
            <a:endParaRPr lang="en-US" altLang="en-US" dirty="0">
              <a:solidFill>
                <a:schemeClr val="tx1"/>
              </a:solidFill>
            </a:endParaRPr>
          </a:p>
          <a:p>
            <a:r>
              <a:rPr lang="en-US" altLang="en-US" dirty="0">
                <a:solidFill>
                  <a:schemeClr val="tx1"/>
                </a:solidFill>
              </a:rPr>
              <a:t>Follow up in-person meetings and phone calls by documenting what was accomplished and what remains outstanding at the end of each meeting.</a:t>
            </a:r>
          </a:p>
          <a:p>
            <a:endParaRPr lang="en-US" altLang="en-US" dirty="0">
              <a:solidFill>
                <a:schemeClr val="tx1"/>
              </a:solidFill>
            </a:endParaRPr>
          </a:p>
          <a:p>
            <a:r>
              <a:rPr lang="en-US" altLang="en-US" dirty="0">
                <a:solidFill>
                  <a:schemeClr val="tx1"/>
                </a:solidFill>
              </a:rPr>
              <a:t>If there are next steps, follow up.</a:t>
            </a:r>
          </a:p>
        </p:txBody>
      </p:sp>
    </p:spTree>
    <p:extLst>
      <p:ext uri="{BB962C8B-B14F-4D97-AF65-F5344CB8AC3E}">
        <p14:creationId xmlns:p14="http://schemas.microsoft.com/office/powerpoint/2010/main" val="122629504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76F290-CBEA-DBF1-13D0-1372CC1DFD4D}"/>
              </a:ext>
            </a:extLst>
          </p:cNvPr>
          <p:cNvSpPr>
            <a:spLocks noGrp="1"/>
          </p:cNvSpPr>
          <p:nvPr>
            <p:ph type="title"/>
          </p:nvPr>
        </p:nvSpPr>
        <p:spPr>
          <a:xfrm>
            <a:off x="677636" y="382378"/>
            <a:ext cx="10676164" cy="1014867"/>
          </a:xfrm>
        </p:spPr>
        <p:txBody>
          <a:bodyPr>
            <a:normAutofit/>
          </a:bodyPr>
          <a:lstStyle/>
          <a:p>
            <a:r>
              <a:rPr lang="en-US" b="1" dirty="0"/>
              <a:t>BP #10 – GC’s Role as Cheerleader</a:t>
            </a:r>
          </a:p>
        </p:txBody>
      </p:sp>
      <p:sp>
        <p:nvSpPr>
          <p:cNvPr id="3" name="Content Placeholder 2">
            <a:extLst>
              <a:ext uri="{FF2B5EF4-FFF2-40B4-BE49-F238E27FC236}">
                <a16:creationId xmlns:a16="http://schemas.microsoft.com/office/drawing/2014/main" id="{5AA45F28-2B8C-39F4-9F66-5B2C924B3541}"/>
              </a:ext>
            </a:extLst>
          </p:cNvPr>
          <p:cNvSpPr>
            <a:spLocks noGrp="1"/>
          </p:cNvSpPr>
          <p:nvPr>
            <p:ph idx="1"/>
          </p:nvPr>
        </p:nvSpPr>
        <p:spPr/>
        <p:txBody>
          <a:bodyPr/>
          <a:lstStyle/>
          <a:p>
            <a:endParaRPr lang="en-US" altLang="en-US" dirty="0">
              <a:solidFill>
                <a:schemeClr val="tx1"/>
              </a:solidFill>
            </a:endParaRPr>
          </a:p>
          <a:p>
            <a:r>
              <a:rPr lang="en-US" altLang="en-US" dirty="0">
                <a:solidFill>
                  <a:schemeClr val="tx1"/>
                </a:solidFill>
              </a:rPr>
              <a:t>Encourage HR and management that they can stay in the game.</a:t>
            </a:r>
          </a:p>
          <a:p>
            <a:r>
              <a:rPr lang="en-US" altLang="en-US" dirty="0">
                <a:solidFill>
                  <a:schemeClr val="tx1"/>
                </a:solidFill>
              </a:rPr>
              <a:t>Remind them to respond to EE requests.</a:t>
            </a:r>
          </a:p>
          <a:p>
            <a:r>
              <a:rPr lang="en-US" altLang="en-US" dirty="0">
                <a:solidFill>
                  <a:schemeClr val="tx1"/>
                </a:solidFill>
              </a:rPr>
              <a:t>Remind them to close the loop.</a:t>
            </a:r>
          </a:p>
          <a:p>
            <a:r>
              <a:rPr lang="en-US" altLang="en-US" dirty="0">
                <a:solidFill>
                  <a:schemeClr val="tx1"/>
                </a:solidFill>
              </a:rPr>
              <a:t>Review the documentation</a:t>
            </a:r>
          </a:p>
          <a:p>
            <a:r>
              <a:rPr lang="en-US" altLang="en-US" dirty="0">
                <a:solidFill>
                  <a:schemeClr val="tx1"/>
                </a:solidFill>
              </a:rPr>
              <a:t>Be creative.  Brainstorm alternative solutions.</a:t>
            </a:r>
          </a:p>
        </p:txBody>
      </p:sp>
    </p:spTree>
    <p:extLst>
      <p:ext uri="{BB962C8B-B14F-4D97-AF65-F5344CB8AC3E}">
        <p14:creationId xmlns:p14="http://schemas.microsoft.com/office/powerpoint/2010/main" val="25677793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1CF48B-38BC-4C71-C3F5-BF87E65DCEE8}"/>
              </a:ext>
            </a:extLst>
          </p:cNvPr>
          <p:cNvSpPr>
            <a:spLocks noGrp="1"/>
          </p:cNvSpPr>
          <p:nvPr>
            <p:ph type="title"/>
          </p:nvPr>
        </p:nvSpPr>
        <p:spPr/>
        <p:txBody>
          <a:bodyPr>
            <a:noAutofit/>
          </a:bodyPr>
          <a:lstStyle/>
          <a:p>
            <a:r>
              <a:rPr lang="en-US" sz="3200" b="1" dirty="0"/>
              <a:t>Best practices for evaluating remote work requests</a:t>
            </a:r>
          </a:p>
        </p:txBody>
      </p:sp>
      <p:sp>
        <p:nvSpPr>
          <p:cNvPr id="3" name="Content Placeholder 2">
            <a:extLst>
              <a:ext uri="{FF2B5EF4-FFF2-40B4-BE49-F238E27FC236}">
                <a16:creationId xmlns:a16="http://schemas.microsoft.com/office/drawing/2014/main" id="{1668E65B-6E91-AEA2-7CE2-D88E5B30180F}"/>
              </a:ext>
            </a:extLst>
          </p:cNvPr>
          <p:cNvSpPr>
            <a:spLocks noGrp="1"/>
          </p:cNvSpPr>
          <p:nvPr>
            <p:ph idx="1"/>
          </p:nvPr>
        </p:nvSpPr>
        <p:spPr/>
        <p:txBody>
          <a:bodyPr/>
          <a:lstStyle/>
          <a:p>
            <a:r>
              <a:rPr lang="en-US" altLang="en-US" dirty="0">
                <a:solidFill>
                  <a:schemeClr val="tx1"/>
                </a:solidFill>
              </a:rPr>
              <a:t>Develop policies and practices, and follow them</a:t>
            </a:r>
          </a:p>
          <a:p>
            <a:r>
              <a:rPr lang="en-US" altLang="en-US" dirty="0">
                <a:solidFill>
                  <a:schemeClr val="tx1"/>
                </a:solidFill>
              </a:rPr>
              <a:t>Avoid hard and fast rules</a:t>
            </a:r>
          </a:p>
          <a:p>
            <a:r>
              <a:rPr lang="en-US" altLang="en-US" dirty="0">
                <a:solidFill>
                  <a:schemeClr val="tx1"/>
                </a:solidFill>
              </a:rPr>
              <a:t>Be responsive to all requests</a:t>
            </a:r>
          </a:p>
          <a:p>
            <a:r>
              <a:rPr lang="en-US" altLang="en-US" dirty="0">
                <a:solidFill>
                  <a:schemeClr val="tx1"/>
                </a:solidFill>
              </a:rPr>
              <a:t>Avoid assumptions</a:t>
            </a:r>
          </a:p>
          <a:p>
            <a:r>
              <a:rPr lang="en-US" altLang="en-US" dirty="0">
                <a:solidFill>
                  <a:schemeClr val="tx1"/>
                </a:solidFill>
              </a:rPr>
              <a:t>Ask questions and listen to answers</a:t>
            </a:r>
          </a:p>
          <a:p>
            <a:r>
              <a:rPr lang="en-US" altLang="en-US" dirty="0">
                <a:solidFill>
                  <a:schemeClr val="tx1"/>
                </a:solidFill>
              </a:rPr>
              <a:t>Make fact-specific, individualized inquiries and decisions</a:t>
            </a:r>
          </a:p>
          <a:p>
            <a:pPr lvl="1"/>
            <a:r>
              <a:rPr lang="en-US" altLang="en-US" dirty="0">
                <a:solidFill>
                  <a:schemeClr val="tx1"/>
                </a:solidFill>
              </a:rPr>
              <a:t>Why is there a rule that kickers must be in person?</a:t>
            </a:r>
          </a:p>
        </p:txBody>
      </p:sp>
    </p:spTree>
    <p:extLst>
      <p:ext uri="{BB962C8B-B14F-4D97-AF65-F5344CB8AC3E}">
        <p14:creationId xmlns:p14="http://schemas.microsoft.com/office/powerpoint/2010/main" val="130997003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DB0EB5-ACC9-7FEB-C90A-8AC45B6A43C9}"/>
              </a:ext>
            </a:extLst>
          </p:cNvPr>
          <p:cNvSpPr>
            <a:spLocks noGrp="1"/>
          </p:cNvSpPr>
          <p:nvPr>
            <p:ph type="title"/>
          </p:nvPr>
        </p:nvSpPr>
        <p:spPr/>
        <p:txBody>
          <a:bodyPr>
            <a:normAutofit/>
          </a:bodyPr>
          <a:lstStyle/>
          <a:p>
            <a:r>
              <a:rPr lang="en-US" b="1" dirty="0"/>
              <a:t>Best practices</a:t>
            </a:r>
          </a:p>
        </p:txBody>
      </p:sp>
      <p:sp>
        <p:nvSpPr>
          <p:cNvPr id="3" name="Content Placeholder 2">
            <a:extLst>
              <a:ext uri="{FF2B5EF4-FFF2-40B4-BE49-F238E27FC236}">
                <a16:creationId xmlns:a16="http://schemas.microsoft.com/office/drawing/2014/main" id="{6457B582-261D-8E4B-96ED-CD54F9A2EACF}"/>
              </a:ext>
            </a:extLst>
          </p:cNvPr>
          <p:cNvSpPr>
            <a:spLocks noGrp="1"/>
          </p:cNvSpPr>
          <p:nvPr>
            <p:ph idx="1"/>
          </p:nvPr>
        </p:nvSpPr>
        <p:spPr/>
        <p:txBody>
          <a:bodyPr/>
          <a:lstStyle/>
          <a:p>
            <a:r>
              <a:rPr lang="en-US" altLang="en-US" dirty="0">
                <a:solidFill>
                  <a:schemeClr val="tx1"/>
                </a:solidFill>
              </a:rPr>
              <a:t>Push back on essential job functions</a:t>
            </a:r>
          </a:p>
          <a:p>
            <a:r>
              <a:rPr lang="en-US" altLang="en-US" dirty="0">
                <a:solidFill>
                  <a:schemeClr val="tx1"/>
                </a:solidFill>
              </a:rPr>
              <a:t>Document the process</a:t>
            </a:r>
          </a:p>
          <a:p>
            <a:r>
              <a:rPr lang="en-US" altLang="en-US" dirty="0">
                <a:solidFill>
                  <a:schemeClr val="tx1"/>
                </a:solidFill>
              </a:rPr>
              <a:t>Focus on performance and whether the individual can (or has) satisfactorily performed essential job functions</a:t>
            </a:r>
          </a:p>
          <a:p>
            <a:r>
              <a:rPr lang="en-US" altLang="en-US" dirty="0">
                <a:solidFill>
                  <a:schemeClr val="tx1"/>
                </a:solidFill>
              </a:rPr>
              <a:t>Focus on assessing whether the accommodations will enable the EE to perform their essential job functions</a:t>
            </a:r>
          </a:p>
          <a:p>
            <a:r>
              <a:rPr lang="en-US" altLang="en-US" dirty="0">
                <a:solidFill>
                  <a:schemeClr val="tx1"/>
                </a:solidFill>
              </a:rPr>
              <a:t>Consider new or creative approaches</a:t>
            </a:r>
          </a:p>
          <a:p>
            <a:r>
              <a:rPr lang="en-US" altLang="en-US" dirty="0">
                <a:solidFill>
                  <a:schemeClr val="tx1"/>
                </a:solidFill>
              </a:rPr>
              <a:t>Consider temporary accommodations</a:t>
            </a:r>
          </a:p>
        </p:txBody>
      </p:sp>
    </p:spTree>
    <p:extLst>
      <p:ext uri="{BB962C8B-B14F-4D97-AF65-F5344CB8AC3E}">
        <p14:creationId xmlns:p14="http://schemas.microsoft.com/office/powerpoint/2010/main" val="163365058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7B57D3-8AC6-7F5C-4708-9665003B2108}"/>
              </a:ext>
            </a:extLst>
          </p:cNvPr>
          <p:cNvSpPr>
            <a:spLocks noGrp="1"/>
          </p:cNvSpPr>
          <p:nvPr>
            <p:ph type="title"/>
          </p:nvPr>
        </p:nvSpPr>
        <p:spPr/>
        <p:txBody>
          <a:bodyPr>
            <a:normAutofit/>
          </a:bodyPr>
          <a:lstStyle/>
          <a:p>
            <a:r>
              <a:rPr lang="en-US" sz="3200" b="1" dirty="0"/>
              <a:t>Recent Cases 1 – ERs who skip the process lose</a:t>
            </a:r>
          </a:p>
        </p:txBody>
      </p:sp>
      <p:sp>
        <p:nvSpPr>
          <p:cNvPr id="3" name="Content Placeholder 2">
            <a:extLst>
              <a:ext uri="{FF2B5EF4-FFF2-40B4-BE49-F238E27FC236}">
                <a16:creationId xmlns:a16="http://schemas.microsoft.com/office/drawing/2014/main" id="{A9CC6368-FFAC-CD48-C3CA-2AE72DBBF09F}"/>
              </a:ext>
            </a:extLst>
          </p:cNvPr>
          <p:cNvSpPr>
            <a:spLocks noGrp="1"/>
          </p:cNvSpPr>
          <p:nvPr>
            <p:ph idx="1"/>
          </p:nvPr>
        </p:nvSpPr>
        <p:spPr/>
        <p:txBody>
          <a:bodyPr/>
          <a:lstStyle/>
          <a:p>
            <a:r>
              <a:rPr lang="en-US" altLang="en-US" sz="2000" i="1" dirty="0">
                <a:solidFill>
                  <a:schemeClr val="tx1"/>
                </a:solidFill>
              </a:rPr>
              <a:t>PA West, PASSHE v. </a:t>
            </a:r>
            <a:r>
              <a:rPr lang="en-US" altLang="en-US" sz="2000" i="1" dirty="0" err="1">
                <a:solidFill>
                  <a:schemeClr val="tx1"/>
                </a:solidFill>
              </a:rPr>
              <a:t>Ass'n</a:t>
            </a:r>
            <a:r>
              <a:rPr lang="en-US" altLang="en-US" sz="2000" i="1" dirty="0">
                <a:solidFill>
                  <a:schemeClr val="tx1"/>
                </a:solidFill>
              </a:rPr>
              <a:t> of PA State Coll. &amp; Univ. Fac., </a:t>
            </a:r>
            <a:r>
              <a:rPr lang="en-US" altLang="en-US" sz="2000" dirty="0">
                <a:solidFill>
                  <a:schemeClr val="tx1"/>
                </a:solidFill>
              </a:rPr>
              <a:t>(Pa. </a:t>
            </a:r>
            <a:r>
              <a:rPr lang="en-US" altLang="en-US" sz="2000" dirty="0" err="1">
                <a:solidFill>
                  <a:schemeClr val="tx1"/>
                </a:solidFill>
              </a:rPr>
              <a:t>Commw</a:t>
            </a:r>
            <a:r>
              <a:rPr lang="en-US" altLang="en-US" sz="2000" dirty="0">
                <a:solidFill>
                  <a:schemeClr val="tx1"/>
                </a:solidFill>
              </a:rPr>
              <a:t>. Ct. Jan. 9, 2026) (where ER did not engage with EE at all and did not consider EE’s individual needs, and where ER’s claim that in person teaching was an essential job function was “unproven,” court affirmed arbitrator’s award reinstating fully remote teaching assignment for faculty member with brain aneurysm.)</a:t>
            </a:r>
          </a:p>
          <a:p>
            <a:pPr marL="0" indent="0">
              <a:buNone/>
            </a:pPr>
            <a:endParaRPr lang="en-US" altLang="en-US" sz="2000" dirty="0">
              <a:solidFill>
                <a:schemeClr val="tx1"/>
              </a:solidFill>
            </a:endParaRPr>
          </a:p>
          <a:p>
            <a:r>
              <a:rPr lang="en-US" altLang="en-US" sz="2000" i="1" dirty="0">
                <a:solidFill>
                  <a:schemeClr val="tx1"/>
                </a:solidFill>
              </a:rPr>
              <a:t>Kutztown U </a:t>
            </a:r>
            <a:r>
              <a:rPr lang="en-US" altLang="en-US" sz="2000" dirty="0">
                <a:solidFill>
                  <a:schemeClr val="tx1"/>
                </a:solidFill>
              </a:rPr>
              <a:t>cases, (ED PA) (in a series of three cases, the EDPA ruled that the ER could not rely solely on its own decision to return to in-person classes without considering the individualized needs of faculty members with disabilities.)</a:t>
            </a:r>
          </a:p>
          <a:p>
            <a:pPr marL="0" indent="0">
              <a:buNone/>
            </a:pPr>
            <a:endParaRPr lang="en-US" altLang="en-US" sz="2000" dirty="0">
              <a:solidFill>
                <a:schemeClr val="tx1"/>
              </a:solidFill>
            </a:endParaRPr>
          </a:p>
          <a:p>
            <a:pPr lvl="1"/>
            <a:r>
              <a:rPr lang="en-US" altLang="en-US" sz="1600" dirty="0">
                <a:solidFill>
                  <a:schemeClr val="tx1"/>
                </a:solidFill>
              </a:rPr>
              <a:t>But same ER won failure to accommodate claim for Spring 2023 where ER engaged in interactive process and offered alternate accommodations (a new converted classroom with a separate entrance, a cap of 35 students, additional ventilation, two portable air scrubbers, reduced foot traffic, and an instructor podium enclosed on three sides with a plexiglass shield. and EE turned them down.)</a:t>
            </a:r>
          </a:p>
        </p:txBody>
      </p:sp>
    </p:spTree>
    <p:extLst>
      <p:ext uri="{BB962C8B-B14F-4D97-AF65-F5344CB8AC3E}">
        <p14:creationId xmlns:p14="http://schemas.microsoft.com/office/powerpoint/2010/main" val="6147788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43C2A0-1C56-D208-BBC8-C5A95DDD5708}"/>
              </a:ext>
            </a:extLst>
          </p:cNvPr>
          <p:cNvSpPr>
            <a:spLocks noGrp="1"/>
          </p:cNvSpPr>
          <p:nvPr>
            <p:ph type="title"/>
          </p:nvPr>
        </p:nvSpPr>
        <p:spPr/>
        <p:txBody>
          <a:bodyPr>
            <a:normAutofit/>
          </a:bodyPr>
          <a:lstStyle/>
          <a:p>
            <a:r>
              <a:rPr lang="en-US" altLang="en-US" sz="3600" dirty="0"/>
              <a:t>Updated Playbook (The EEOC issued new FAQs)</a:t>
            </a:r>
            <a:endParaRPr lang="en-US" sz="3600" dirty="0"/>
          </a:p>
        </p:txBody>
      </p:sp>
      <p:sp>
        <p:nvSpPr>
          <p:cNvPr id="3" name="Content Placeholder 2">
            <a:extLst>
              <a:ext uri="{FF2B5EF4-FFF2-40B4-BE49-F238E27FC236}">
                <a16:creationId xmlns:a16="http://schemas.microsoft.com/office/drawing/2014/main" id="{1C114A38-10C1-9784-25A5-305529D75A1D}"/>
              </a:ext>
            </a:extLst>
          </p:cNvPr>
          <p:cNvSpPr>
            <a:spLocks noGrp="1"/>
          </p:cNvSpPr>
          <p:nvPr>
            <p:ph idx="1"/>
          </p:nvPr>
        </p:nvSpPr>
        <p:spPr/>
        <p:txBody>
          <a:bodyPr/>
          <a:lstStyle/>
          <a:p>
            <a:pPr>
              <a:defRPr/>
            </a:pPr>
            <a:r>
              <a:rPr lang="en-US" dirty="0">
                <a:solidFill>
                  <a:schemeClr val="tx1"/>
                </a:solidFill>
              </a:rPr>
              <a:t>Frequently Asked Questions from the Federal Sector about Telework Accommodations for Disabilities (Feb. 11, 2026)</a:t>
            </a:r>
          </a:p>
          <a:p>
            <a:pPr marL="0" indent="0">
              <a:buNone/>
              <a:defRPr/>
            </a:pPr>
            <a:endParaRPr lang="en-US" dirty="0">
              <a:solidFill>
                <a:schemeClr val="tx1"/>
              </a:solidFill>
            </a:endParaRPr>
          </a:p>
          <a:p>
            <a:pPr lvl="1">
              <a:defRPr/>
            </a:pPr>
            <a:r>
              <a:rPr lang="en-US" dirty="0">
                <a:solidFill>
                  <a:schemeClr val="tx1"/>
                </a:solidFill>
              </a:rPr>
              <a:t>Issued in response to President Trump’s January 20, 2025 instruction that executive agencies should “return to work in-person … on a full-time basis … consistent with applicable law.” </a:t>
            </a:r>
          </a:p>
        </p:txBody>
      </p:sp>
    </p:spTree>
    <p:extLst>
      <p:ext uri="{BB962C8B-B14F-4D97-AF65-F5344CB8AC3E}">
        <p14:creationId xmlns:p14="http://schemas.microsoft.com/office/powerpoint/2010/main" val="107276097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6F5101-CA53-D8F4-2A52-C79178E87319}"/>
              </a:ext>
            </a:extLst>
          </p:cNvPr>
          <p:cNvSpPr>
            <a:spLocks noGrp="1"/>
          </p:cNvSpPr>
          <p:nvPr>
            <p:ph type="title"/>
          </p:nvPr>
        </p:nvSpPr>
        <p:spPr>
          <a:xfrm>
            <a:off x="669010" y="365125"/>
            <a:ext cx="10676164" cy="1014867"/>
          </a:xfrm>
        </p:spPr>
        <p:txBody>
          <a:bodyPr>
            <a:normAutofit/>
          </a:bodyPr>
          <a:lstStyle/>
          <a:p>
            <a:r>
              <a:rPr lang="en-US" sz="3200" b="1" dirty="0"/>
              <a:t>Recent Cases 2 – ERs win when they outlast EEs and have specific facts to show undue hardship</a:t>
            </a:r>
          </a:p>
        </p:txBody>
      </p:sp>
      <p:sp>
        <p:nvSpPr>
          <p:cNvPr id="3" name="Content Placeholder 2">
            <a:extLst>
              <a:ext uri="{FF2B5EF4-FFF2-40B4-BE49-F238E27FC236}">
                <a16:creationId xmlns:a16="http://schemas.microsoft.com/office/drawing/2014/main" id="{F28DDC8B-556E-B8DE-E76C-ED124D3F5073}"/>
              </a:ext>
            </a:extLst>
          </p:cNvPr>
          <p:cNvSpPr>
            <a:spLocks noGrp="1"/>
          </p:cNvSpPr>
          <p:nvPr>
            <p:ph idx="1"/>
          </p:nvPr>
        </p:nvSpPr>
        <p:spPr/>
        <p:txBody>
          <a:bodyPr>
            <a:normAutofit/>
          </a:bodyPr>
          <a:lstStyle/>
          <a:p>
            <a:pPr>
              <a:defRPr/>
            </a:pPr>
            <a:r>
              <a:rPr lang="en-US" sz="2200" i="1" dirty="0">
                <a:solidFill>
                  <a:schemeClr val="tx1"/>
                </a:solidFill>
              </a:rPr>
              <a:t>Behm v. Mack Trucks, Inc</a:t>
            </a:r>
            <a:r>
              <a:rPr lang="en-US" sz="2200" dirty="0">
                <a:solidFill>
                  <a:schemeClr val="tx1"/>
                </a:solidFill>
              </a:rPr>
              <a:t>., (3d Cir. May 1, 2023) (affirming </a:t>
            </a:r>
            <a:r>
              <a:rPr lang="en-US" sz="2200" dirty="0" err="1">
                <a:solidFill>
                  <a:schemeClr val="tx1"/>
                </a:solidFill>
              </a:rPr>
              <a:t>sj</a:t>
            </a:r>
            <a:r>
              <a:rPr lang="en-US" sz="2200" dirty="0">
                <a:solidFill>
                  <a:schemeClr val="tx1"/>
                </a:solidFill>
              </a:rPr>
              <a:t> for the ER where ER approved every accommodation EE requested and EE resigned). </a:t>
            </a:r>
          </a:p>
          <a:p>
            <a:pPr lvl="1">
              <a:defRPr/>
            </a:pPr>
            <a:r>
              <a:rPr lang="en-US" sz="2200" dirty="0">
                <a:solidFill>
                  <a:schemeClr val="tx1"/>
                </a:solidFill>
              </a:rPr>
              <a:t>Also, the Court said that the only request the ER ever denied was EE’s request to be moved back to first shift, after a RIF resulted in her working second shift.  “But this denial cannot be the basis of her ADA claim, because she never requested an accommodation for a medical reason.” EE told the ER that the reason she requested to switch shifts was due to scheduling conflicts with the time she had to pick her daughter up from school, not any medical reason that would implicate the ADA.  </a:t>
            </a:r>
          </a:p>
          <a:p>
            <a:pPr>
              <a:defRPr/>
            </a:pPr>
            <a:r>
              <a:rPr lang="en-US" sz="2200" i="1" dirty="0">
                <a:solidFill>
                  <a:schemeClr val="tx1"/>
                </a:solidFill>
              </a:rPr>
              <a:t>Galette v. Ave. 365 Lending Servs. LLC, </a:t>
            </a:r>
            <a:r>
              <a:rPr lang="en-US" sz="2200" dirty="0">
                <a:solidFill>
                  <a:schemeClr val="tx1"/>
                </a:solidFill>
              </a:rPr>
              <a:t>No. 24-1221, 2025 WL 429973, at *2–3 (3d Cir. Feb. 7, 2025) (Undue burden found in EE’s request to perform lending officer duties remotely where ER discontinued the remote printing and scanning of checks due to security concerns).</a:t>
            </a:r>
          </a:p>
        </p:txBody>
      </p:sp>
    </p:spTree>
    <p:extLst>
      <p:ext uri="{BB962C8B-B14F-4D97-AF65-F5344CB8AC3E}">
        <p14:creationId xmlns:p14="http://schemas.microsoft.com/office/powerpoint/2010/main" val="13612564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8E6FC3-081C-C99C-7BFB-72B1484ED0EC}"/>
              </a:ext>
            </a:extLst>
          </p:cNvPr>
          <p:cNvSpPr>
            <a:spLocks noGrp="1"/>
          </p:cNvSpPr>
          <p:nvPr>
            <p:ph type="title"/>
          </p:nvPr>
        </p:nvSpPr>
        <p:spPr/>
        <p:txBody>
          <a:bodyPr>
            <a:normAutofit/>
          </a:bodyPr>
          <a:lstStyle/>
          <a:p>
            <a:r>
              <a:rPr lang="en-US" sz="3200" b="1" dirty="0"/>
              <a:t>Recent Cases 3 – ERs win when they outlast EEs and have specific facts to show undue hardship</a:t>
            </a:r>
          </a:p>
        </p:txBody>
      </p:sp>
      <p:sp>
        <p:nvSpPr>
          <p:cNvPr id="3" name="Content Placeholder 2">
            <a:extLst>
              <a:ext uri="{FF2B5EF4-FFF2-40B4-BE49-F238E27FC236}">
                <a16:creationId xmlns:a16="http://schemas.microsoft.com/office/drawing/2014/main" id="{FA20AC09-CAF6-9FDA-9FC1-15BF3EC940E7}"/>
              </a:ext>
            </a:extLst>
          </p:cNvPr>
          <p:cNvSpPr>
            <a:spLocks noGrp="1"/>
          </p:cNvSpPr>
          <p:nvPr>
            <p:ph idx="1"/>
          </p:nvPr>
        </p:nvSpPr>
        <p:spPr/>
        <p:txBody>
          <a:bodyPr>
            <a:normAutofit/>
          </a:bodyPr>
          <a:lstStyle/>
          <a:p>
            <a:pPr>
              <a:defRPr/>
            </a:pPr>
            <a:endParaRPr lang="en-US" altLang="en-US" sz="2200" i="1" dirty="0">
              <a:solidFill>
                <a:schemeClr val="tx1"/>
              </a:solidFill>
            </a:endParaRPr>
          </a:p>
          <a:p>
            <a:pPr>
              <a:defRPr/>
            </a:pPr>
            <a:r>
              <a:rPr lang="en-US" altLang="en-US" sz="2200" i="1" dirty="0">
                <a:solidFill>
                  <a:schemeClr val="tx1"/>
                </a:solidFill>
              </a:rPr>
              <a:t>Haggins v. Wilson Air Center </a:t>
            </a:r>
            <a:r>
              <a:rPr lang="en-US" altLang="en-US" sz="2200" dirty="0">
                <a:solidFill>
                  <a:schemeClr val="tx1"/>
                </a:solidFill>
              </a:rPr>
              <a:t>(4</a:t>
            </a:r>
            <a:r>
              <a:rPr lang="en-US" altLang="en-US" sz="2200" baseline="30000" dirty="0">
                <a:solidFill>
                  <a:schemeClr val="tx1"/>
                </a:solidFill>
              </a:rPr>
              <a:t>th</a:t>
            </a:r>
            <a:r>
              <a:rPr lang="en-US" altLang="en-US" sz="2200" dirty="0">
                <a:solidFill>
                  <a:schemeClr val="tx1"/>
                </a:solidFill>
              </a:rPr>
              <a:t> Cir. Jan 14, 2026) (EE who failed to respond to ER’s questions was not qualified because, “i</a:t>
            </a:r>
            <a:r>
              <a:rPr lang="en-US" sz="2200" dirty="0">
                <a:solidFill>
                  <a:schemeClr val="tx1"/>
                </a:solidFill>
                <a:sym typeface="Wingdings" panose="05000000000000000000" pitchFamily="2" charset="2"/>
              </a:rPr>
              <a:t>mplied in the definition of qualified individual is a reciprocal obligation between the employee and the employee to engage in a good faith, collaborative search for a reasonable accommodation.”)</a:t>
            </a:r>
          </a:p>
          <a:p>
            <a:pPr>
              <a:defRPr/>
            </a:pPr>
            <a:endParaRPr lang="en-US" sz="2200" dirty="0">
              <a:solidFill>
                <a:schemeClr val="tx1"/>
              </a:solidFill>
              <a:sym typeface="Wingdings" panose="05000000000000000000" pitchFamily="2" charset="2"/>
            </a:endParaRPr>
          </a:p>
          <a:p>
            <a:pPr lvl="1">
              <a:defRPr/>
            </a:pPr>
            <a:r>
              <a:rPr lang="en-US" altLang="en-US" sz="2200" dirty="0">
                <a:solidFill>
                  <a:schemeClr val="tx1"/>
                </a:solidFill>
              </a:rPr>
              <a:t>ER demonstrated undue hardship in overtaxed coworker</a:t>
            </a:r>
          </a:p>
          <a:p>
            <a:pPr lvl="1">
              <a:defRPr/>
            </a:pPr>
            <a:r>
              <a:rPr lang="en-US" altLang="en-US" sz="2200" dirty="0">
                <a:solidFill>
                  <a:schemeClr val="tx1"/>
                </a:solidFill>
              </a:rPr>
              <a:t>EE failed to perform as she agreed, failed to work in office for three months entirely, and failed to respond to ER’s request that she inform ER as to her needs, before ER terminated employment for job abandonment.</a:t>
            </a:r>
          </a:p>
        </p:txBody>
      </p:sp>
    </p:spTree>
    <p:extLst>
      <p:ext uri="{BB962C8B-B14F-4D97-AF65-F5344CB8AC3E}">
        <p14:creationId xmlns:p14="http://schemas.microsoft.com/office/powerpoint/2010/main" val="79002948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A7393C-12DB-F2DE-5AD5-307E7703179C}"/>
              </a:ext>
            </a:extLst>
          </p:cNvPr>
          <p:cNvSpPr>
            <a:spLocks noGrp="1"/>
          </p:cNvSpPr>
          <p:nvPr>
            <p:ph type="title"/>
          </p:nvPr>
        </p:nvSpPr>
        <p:spPr/>
        <p:txBody>
          <a:bodyPr>
            <a:normAutofit/>
          </a:bodyPr>
          <a:lstStyle/>
          <a:p>
            <a:r>
              <a:rPr lang="en-US" b="1" dirty="0">
                <a:solidFill>
                  <a:schemeClr val="tx1"/>
                </a:solidFill>
              </a:rPr>
              <a:t>Considerations for Telework Policies</a:t>
            </a:r>
          </a:p>
        </p:txBody>
      </p:sp>
      <p:sp>
        <p:nvSpPr>
          <p:cNvPr id="3" name="Content Placeholder 2">
            <a:extLst>
              <a:ext uri="{FF2B5EF4-FFF2-40B4-BE49-F238E27FC236}">
                <a16:creationId xmlns:a16="http://schemas.microsoft.com/office/drawing/2014/main" id="{AE868CB5-F3DD-2DBD-17DC-B771ACDD03DD}"/>
              </a:ext>
            </a:extLst>
          </p:cNvPr>
          <p:cNvSpPr>
            <a:spLocks noGrp="1"/>
          </p:cNvSpPr>
          <p:nvPr>
            <p:ph idx="1"/>
          </p:nvPr>
        </p:nvSpPr>
        <p:spPr/>
        <p:txBody>
          <a:bodyPr/>
          <a:lstStyle/>
          <a:p>
            <a:r>
              <a:rPr lang="en-US" altLang="en-US" sz="2000" dirty="0">
                <a:solidFill>
                  <a:schemeClr val="tx1"/>
                </a:solidFill>
              </a:rPr>
              <a:t>Are there restrictions for privacy / security reasons? (Can I work from a coffee shop?)</a:t>
            </a:r>
          </a:p>
          <a:p>
            <a:pPr lvl="1"/>
            <a:r>
              <a:rPr lang="en-US" altLang="en-US" sz="2000" dirty="0">
                <a:solidFill>
                  <a:schemeClr val="tx1"/>
                </a:solidFill>
              </a:rPr>
              <a:t>Access to signatures/checks/PII</a:t>
            </a:r>
          </a:p>
          <a:p>
            <a:r>
              <a:rPr lang="en-US" altLang="en-US" sz="2000" dirty="0">
                <a:solidFill>
                  <a:schemeClr val="tx1"/>
                </a:solidFill>
              </a:rPr>
              <a:t>Are there restrictions on fulltime caregivers for children?  </a:t>
            </a:r>
          </a:p>
          <a:p>
            <a:r>
              <a:rPr lang="en-US" altLang="en-US" sz="2000" dirty="0">
                <a:solidFill>
                  <a:schemeClr val="tx1"/>
                </a:solidFill>
              </a:rPr>
              <a:t>Are there jurisdictional restrictions? </a:t>
            </a:r>
          </a:p>
          <a:p>
            <a:pPr lvl="1"/>
            <a:r>
              <a:rPr lang="en-US" altLang="en-US" sz="2000" dirty="0">
                <a:solidFill>
                  <a:schemeClr val="tx1"/>
                </a:solidFill>
              </a:rPr>
              <a:t>Is ER set up to pay employment taxes in Ohio?  In Sudan?  In Jamaica?</a:t>
            </a:r>
          </a:p>
          <a:p>
            <a:r>
              <a:rPr lang="en-US" altLang="en-US" sz="2000" dirty="0">
                <a:solidFill>
                  <a:schemeClr val="tx1"/>
                </a:solidFill>
              </a:rPr>
              <a:t>Productivity concerns?</a:t>
            </a:r>
          </a:p>
          <a:p>
            <a:pPr lvl="1"/>
            <a:r>
              <a:rPr lang="en-US" altLang="en-US" sz="2000" dirty="0">
                <a:solidFill>
                  <a:schemeClr val="tx1"/>
                </a:solidFill>
              </a:rPr>
              <a:t>Are there days/times when everyone must be online?</a:t>
            </a:r>
          </a:p>
          <a:p>
            <a:pPr lvl="1"/>
            <a:r>
              <a:rPr lang="en-US" altLang="en-US" sz="2000" dirty="0">
                <a:solidFill>
                  <a:schemeClr val="tx1"/>
                </a:solidFill>
              </a:rPr>
              <a:t>Are there requirements to respond to emails/calls?  Camera use? </a:t>
            </a:r>
          </a:p>
          <a:p>
            <a:r>
              <a:rPr lang="en-US" altLang="en-US" sz="2000" dirty="0">
                <a:solidFill>
                  <a:schemeClr val="tx1"/>
                </a:solidFill>
              </a:rPr>
              <a:t>Does it make sense to let each department have their own policies?</a:t>
            </a:r>
          </a:p>
          <a:p>
            <a:r>
              <a:rPr lang="en-US" altLang="en-US" sz="2000" dirty="0">
                <a:solidFill>
                  <a:schemeClr val="tx1"/>
                </a:solidFill>
              </a:rPr>
              <a:t>Who is responsible for unlocking the business door and greeting customers</a:t>
            </a:r>
            <a:r>
              <a:rPr lang="en-US" altLang="en-US" dirty="0">
                <a:solidFill>
                  <a:schemeClr val="tx1"/>
                </a:solidFill>
              </a:rPr>
              <a:t>?</a:t>
            </a:r>
          </a:p>
        </p:txBody>
      </p:sp>
    </p:spTree>
    <p:extLst>
      <p:ext uri="{BB962C8B-B14F-4D97-AF65-F5344CB8AC3E}">
        <p14:creationId xmlns:p14="http://schemas.microsoft.com/office/powerpoint/2010/main" val="18946997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764684-2D32-8BF0-D4FE-9ECA2E9C0062}"/>
              </a:ext>
            </a:extLst>
          </p:cNvPr>
          <p:cNvSpPr>
            <a:spLocks noGrp="1"/>
          </p:cNvSpPr>
          <p:nvPr>
            <p:ph type="title"/>
          </p:nvPr>
        </p:nvSpPr>
        <p:spPr/>
        <p:txBody>
          <a:bodyPr>
            <a:normAutofit/>
          </a:bodyPr>
          <a:lstStyle/>
          <a:p>
            <a:r>
              <a:rPr lang="en-US" b="1" dirty="0"/>
              <a:t>Questions?</a:t>
            </a:r>
          </a:p>
        </p:txBody>
      </p:sp>
      <p:sp>
        <p:nvSpPr>
          <p:cNvPr id="3" name="Content Placeholder 2">
            <a:extLst>
              <a:ext uri="{FF2B5EF4-FFF2-40B4-BE49-F238E27FC236}">
                <a16:creationId xmlns:a16="http://schemas.microsoft.com/office/drawing/2014/main" id="{02A17888-3745-CCE2-F1AD-7314991BBC03}"/>
              </a:ext>
            </a:extLst>
          </p:cNvPr>
          <p:cNvSpPr>
            <a:spLocks noGrp="1"/>
          </p:cNvSpPr>
          <p:nvPr>
            <p:ph idx="1"/>
          </p:nvPr>
        </p:nvSpPr>
        <p:spPr/>
        <p:txBody>
          <a:bodyPr/>
          <a:lstStyle/>
          <a:p>
            <a:r>
              <a:rPr lang="en-US" dirty="0">
                <a:solidFill>
                  <a:schemeClr val="tx1"/>
                </a:solidFill>
              </a:rPr>
              <a:t>Karen Baillie karen.baillie@ogletree.com</a:t>
            </a:r>
          </a:p>
        </p:txBody>
      </p:sp>
    </p:spTree>
    <p:extLst>
      <p:ext uri="{BB962C8B-B14F-4D97-AF65-F5344CB8AC3E}">
        <p14:creationId xmlns:p14="http://schemas.microsoft.com/office/powerpoint/2010/main" val="23361869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CA65F3-AA0F-F16B-22F7-C7419B16122B}"/>
              </a:ext>
            </a:extLst>
          </p:cNvPr>
          <p:cNvSpPr>
            <a:spLocks noGrp="1"/>
          </p:cNvSpPr>
          <p:nvPr>
            <p:ph type="title"/>
          </p:nvPr>
        </p:nvSpPr>
        <p:spPr/>
        <p:txBody>
          <a:bodyPr/>
          <a:lstStyle/>
          <a:p>
            <a:r>
              <a:rPr lang="en-US" b="1" dirty="0"/>
              <a:t>Draft Day Hypo 1</a:t>
            </a:r>
          </a:p>
        </p:txBody>
      </p:sp>
      <p:sp>
        <p:nvSpPr>
          <p:cNvPr id="3" name="Content Placeholder 2">
            <a:extLst>
              <a:ext uri="{FF2B5EF4-FFF2-40B4-BE49-F238E27FC236}">
                <a16:creationId xmlns:a16="http://schemas.microsoft.com/office/drawing/2014/main" id="{E10FD05D-50CE-99D1-5DC0-5BB1D0446808}"/>
              </a:ext>
            </a:extLst>
          </p:cNvPr>
          <p:cNvSpPr>
            <a:spLocks noGrp="1"/>
          </p:cNvSpPr>
          <p:nvPr>
            <p:ph idx="1"/>
          </p:nvPr>
        </p:nvSpPr>
        <p:spPr/>
        <p:txBody>
          <a:bodyPr>
            <a:normAutofit/>
          </a:bodyPr>
          <a:lstStyle/>
          <a:p>
            <a:pPr>
              <a:defRPr/>
            </a:pPr>
            <a:r>
              <a:rPr lang="en-US" dirty="0">
                <a:solidFill>
                  <a:schemeClr val="tx1"/>
                </a:solidFill>
              </a:rPr>
              <a:t>After missing several field goals last season, our team drafts Prospect, a reliable kicker, who made 100% of the field goals she attempted during college, and she joins the team. </a:t>
            </a:r>
          </a:p>
          <a:p>
            <a:pPr>
              <a:defRPr/>
            </a:pPr>
            <a:r>
              <a:rPr lang="en-US" dirty="0">
                <a:solidFill>
                  <a:schemeClr val="tx1"/>
                </a:solidFill>
              </a:rPr>
              <a:t>Several months into pre-season workouts, just as the regular season begins, Prospect requests an accommodation.</a:t>
            </a:r>
          </a:p>
        </p:txBody>
      </p:sp>
    </p:spTree>
    <p:extLst>
      <p:ext uri="{BB962C8B-B14F-4D97-AF65-F5344CB8AC3E}">
        <p14:creationId xmlns:p14="http://schemas.microsoft.com/office/powerpoint/2010/main" val="40969205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528725-9EA0-3D5C-0520-7A14C2EFC45E}"/>
              </a:ext>
            </a:extLst>
          </p:cNvPr>
          <p:cNvSpPr>
            <a:spLocks noGrp="1"/>
          </p:cNvSpPr>
          <p:nvPr>
            <p:ph type="title"/>
          </p:nvPr>
        </p:nvSpPr>
        <p:spPr/>
        <p:txBody>
          <a:bodyPr>
            <a:normAutofit/>
          </a:bodyPr>
          <a:lstStyle/>
          <a:p>
            <a:r>
              <a:rPr lang="en-US" b="1" dirty="0"/>
              <a:t>Draft Day Hypo 2</a:t>
            </a:r>
          </a:p>
        </p:txBody>
      </p:sp>
      <p:sp>
        <p:nvSpPr>
          <p:cNvPr id="3" name="Content Placeholder 2">
            <a:extLst>
              <a:ext uri="{FF2B5EF4-FFF2-40B4-BE49-F238E27FC236}">
                <a16:creationId xmlns:a16="http://schemas.microsoft.com/office/drawing/2014/main" id="{B0946223-8C2A-62B2-CDC3-727E8BA46CAE}"/>
              </a:ext>
            </a:extLst>
          </p:cNvPr>
          <p:cNvSpPr>
            <a:spLocks noGrp="1"/>
          </p:cNvSpPr>
          <p:nvPr>
            <p:ph idx="1"/>
          </p:nvPr>
        </p:nvSpPr>
        <p:spPr/>
        <p:txBody>
          <a:bodyPr/>
          <a:lstStyle/>
          <a:p>
            <a:r>
              <a:rPr lang="en-US" altLang="en-US" sz="2400" dirty="0">
                <a:solidFill>
                  <a:schemeClr val="tx1"/>
                </a:solidFill>
              </a:rPr>
              <a:t>Prospect's email to HR explains that</a:t>
            </a:r>
            <a:r>
              <a:rPr lang="en-US" altLang="en-US" dirty="0">
                <a:solidFill>
                  <a:schemeClr val="tx1"/>
                </a:solidFill>
              </a:rPr>
              <a:t>:</a:t>
            </a:r>
          </a:p>
          <a:p>
            <a:pPr lvl="1"/>
            <a:endParaRPr lang="en-US" altLang="en-US" sz="2000" dirty="0">
              <a:solidFill>
                <a:schemeClr val="tx1"/>
              </a:solidFill>
            </a:endParaRPr>
          </a:p>
          <a:p>
            <a:pPr lvl="1"/>
            <a:r>
              <a:rPr lang="en-US" altLang="en-US" sz="2000" dirty="0">
                <a:solidFill>
                  <a:schemeClr val="tx1"/>
                </a:solidFill>
              </a:rPr>
              <a:t>She suffers from panic attacks and anxiety; </a:t>
            </a:r>
          </a:p>
          <a:p>
            <a:pPr lvl="1"/>
            <a:r>
              <a:rPr lang="en-US" altLang="en-US" sz="2000" dirty="0">
                <a:solidFill>
                  <a:schemeClr val="tx1"/>
                </a:solidFill>
              </a:rPr>
              <a:t>She has been treating with psychedelics; </a:t>
            </a:r>
          </a:p>
          <a:p>
            <a:pPr lvl="1"/>
            <a:r>
              <a:rPr lang="en-US" altLang="en-US" sz="2000" dirty="0">
                <a:solidFill>
                  <a:schemeClr val="tx1"/>
                </a:solidFill>
              </a:rPr>
              <a:t>Recently, after hallucinating, she woke up with a foot injury rendering her unable to kick, and she fears it will require several surgeries</a:t>
            </a:r>
            <a:r>
              <a:rPr lang="en-US" altLang="en-US" dirty="0">
                <a:solidFill>
                  <a:schemeClr val="tx1"/>
                </a:solidFill>
              </a:rPr>
              <a:t>.  </a:t>
            </a:r>
          </a:p>
          <a:p>
            <a:pPr lvl="1"/>
            <a:r>
              <a:rPr lang="en-US" altLang="en-US" sz="2000" dirty="0">
                <a:solidFill>
                  <a:schemeClr val="tx1"/>
                </a:solidFill>
              </a:rPr>
              <a:t>Prospect reports that her therapist urged her to request (1) paid leave, (2) then remote work only for the next 6 months, and (3) private workouts throughout her recovery.</a:t>
            </a:r>
          </a:p>
          <a:p>
            <a:pPr marL="457200" lvl="1" indent="0">
              <a:buNone/>
            </a:pPr>
            <a:endParaRPr lang="en-US" altLang="en-US" sz="2000" dirty="0">
              <a:solidFill>
                <a:schemeClr val="tx1"/>
              </a:solidFill>
            </a:endParaRPr>
          </a:p>
          <a:p>
            <a:r>
              <a:rPr lang="en-US" altLang="en-US" sz="2400" dirty="0">
                <a:solidFill>
                  <a:schemeClr val="tx1"/>
                </a:solidFill>
              </a:rPr>
              <a:t>HR reaches out because the Special Teams Coordinator would like to fire the kicker as she is clearly unable to “kick.”  How would you advise HR? </a:t>
            </a:r>
          </a:p>
        </p:txBody>
      </p:sp>
    </p:spTree>
    <p:extLst>
      <p:ext uri="{BB962C8B-B14F-4D97-AF65-F5344CB8AC3E}">
        <p14:creationId xmlns:p14="http://schemas.microsoft.com/office/powerpoint/2010/main" val="8934542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EF2E40-B3B0-C60B-1A10-893619E582D3}"/>
              </a:ext>
            </a:extLst>
          </p:cNvPr>
          <p:cNvSpPr>
            <a:spLocks noGrp="1"/>
          </p:cNvSpPr>
          <p:nvPr>
            <p:ph type="title"/>
          </p:nvPr>
        </p:nvSpPr>
        <p:spPr/>
        <p:txBody>
          <a:bodyPr>
            <a:normAutofit/>
          </a:bodyPr>
          <a:lstStyle/>
          <a:p>
            <a:r>
              <a:rPr lang="en-US" b="1" dirty="0"/>
              <a:t>Draft Day Hypo 3</a:t>
            </a:r>
          </a:p>
        </p:txBody>
      </p:sp>
      <p:sp>
        <p:nvSpPr>
          <p:cNvPr id="3" name="Content Placeholder 2">
            <a:extLst>
              <a:ext uri="{FF2B5EF4-FFF2-40B4-BE49-F238E27FC236}">
                <a16:creationId xmlns:a16="http://schemas.microsoft.com/office/drawing/2014/main" id="{543FF3D4-AAC9-EEA3-8B75-DFE0F28EE46C}"/>
              </a:ext>
            </a:extLst>
          </p:cNvPr>
          <p:cNvSpPr>
            <a:spLocks noGrp="1"/>
          </p:cNvSpPr>
          <p:nvPr>
            <p:ph idx="1"/>
          </p:nvPr>
        </p:nvSpPr>
        <p:spPr/>
        <p:txBody>
          <a:bodyPr>
            <a:noAutofit/>
          </a:bodyPr>
          <a:lstStyle/>
          <a:p>
            <a:pPr>
              <a:spcBef>
                <a:spcPts val="600"/>
              </a:spcBef>
              <a:spcAft>
                <a:spcPts val="600"/>
              </a:spcAft>
            </a:pPr>
            <a:r>
              <a:rPr lang="en-US" altLang="en-US" dirty="0">
                <a:solidFill>
                  <a:schemeClr val="tx1"/>
                </a:solidFill>
              </a:rPr>
              <a:t>A pandemic occurs, games are postponed, and remote work and private workouts are approved for all, including Prospect.</a:t>
            </a:r>
          </a:p>
          <a:p>
            <a:pPr>
              <a:spcBef>
                <a:spcPts val="600"/>
              </a:spcBef>
              <a:spcAft>
                <a:spcPts val="600"/>
              </a:spcAft>
            </a:pPr>
            <a:r>
              <a:rPr lang="en-US" altLang="en-US" dirty="0">
                <a:solidFill>
                  <a:schemeClr val="tx1"/>
                </a:solidFill>
              </a:rPr>
              <a:t>At the end of the pandemic, ER’s CEO announces a blanket return to field policy – no exceptions.</a:t>
            </a:r>
          </a:p>
          <a:p>
            <a:pPr>
              <a:spcBef>
                <a:spcPts val="600"/>
              </a:spcBef>
              <a:spcAft>
                <a:spcPts val="600"/>
              </a:spcAft>
            </a:pPr>
            <a:r>
              <a:rPr lang="en-US" altLang="en-US" dirty="0">
                <a:solidFill>
                  <a:schemeClr val="tx1"/>
                </a:solidFill>
              </a:rPr>
              <a:t>Prospect alerts HR that she cannot return just yet, and her foot requires one more surgery, and another 12-14 weeks of rehab, after which time she hopes to be good as new. </a:t>
            </a:r>
          </a:p>
          <a:p>
            <a:pPr>
              <a:spcBef>
                <a:spcPts val="600"/>
              </a:spcBef>
              <a:spcAft>
                <a:spcPts val="600"/>
              </a:spcAft>
            </a:pPr>
            <a:r>
              <a:rPr lang="en-US" altLang="en-US" dirty="0">
                <a:solidFill>
                  <a:schemeClr val="tx1"/>
                </a:solidFill>
              </a:rPr>
              <a:t>How would you advise HR to respond? </a:t>
            </a:r>
          </a:p>
        </p:txBody>
      </p:sp>
    </p:spTree>
    <p:extLst>
      <p:ext uri="{BB962C8B-B14F-4D97-AF65-F5344CB8AC3E}">
        <p14:creationId xmlns:p14="http://schemas.microsoft.com/office/powerpoint/2010/main" val="17499751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E3347-3A0B-8842-D928-38D7DBBB35B2}"/>
              </a:ext>
            </a:extLst>
          </p:cNvPr>
          <p:cNvSpPr>
            <a:spLocks noGrp="1"/>
          </p:cNvSpPr>
          <p:nvPr>
            <p:ph type="title"/>
          </p:nvPr>
        </p:nvSpPr>
        <p:spPr/>
        <p:txBody>
          <a:bodyPr>
            <a:normAutofit/>
          </a:bodyPr>
          <a:lstStyle/>
          <a:p>
            <a:r>
              <a:rPr lang="en-US" sz="3600" b="1" dirty="0"/>
              <a:t>Best Practice (BP) #1 – The Interactive Process</a:t>
            </a:r>
          </a:p>
        </p:txBody>
      </p:sp>
      <p:sp>
        <p:nvSpPr>
          <p:cNvPr id="3" name="Content Placeholder 2">
            <a:extLst>
              <a:ext uri="{FF2B5EF4-FFF2-40B4-BE49-F238E27FC236}">
                <a16:creationId xmlns:a16="http://schemas.microsoft.com/office/drawing/2014/main" id="{73F83A88-8B7B-F580-BA8F-E607BC6BE4A9}"/>
              </a:ext>
            </a:extLst>
          </p:cNvPr>
          <p:cNvSpPr>
            <a:spLocks noGrp="1"/>
          </p:cNvSpPr>
          <p:nvPr>
            <p:ph idx="1"/>
          </p:nvPr>
        </p:nvSpPr>
        <p:spPr/>
        <p:txBody>
          <a:bodyPr/>
          <a:lstStyle/>
          <a:p>
            <a:r>
              <a:rPr lang="en-US" altLang="en-US" dirty="0">
                <a:solidFill>
                  <a:schemeClr val="tx1"/>
                </a:solidFill>
              </a:rPr>
              <a:t>The Answer is always, let’s begin the interactive process.</a:t>
            </a:r>
          </a:p>
          <a:p>
            <a:pPr marL="0" indent="0">
              <a:buNone/>
            </a:pPr>
            <a:endParaRPr lang="en-US" altLang="en-US" dirty="0">
              <a:solidFill>
                <a:schemeClr val="tx1"/>
              </a:solidFill>
            </a:endParaRPr>
          </a:p>
          <a:p>
            <a:r>
              <a:rPr lang="en-US" altLang="en-US" dirty="0">
                <a:solidFill>
                  <a:schemeClr val="tx1"/>
                </a:solidFill>
              </a:rPr>
              <a:t>It is important to go through the process, to understand the individual needs of the employee and the individual needs of the business.</a:t>
            </a:r>
            <a:endParaRPr lang="en-US" dirty="0">
              <a:solidFill>
                <a:schemeClr val="tx1"/>
              </a:solidFill>
            </a:endParaRPr>
          </a:p>
        </p:txBody>
      </p:sp>
    </p:spTree>
    <p:extLst>
      <p:ext uri="{BB962C8B-B14F-4D97-AF65-F5344CB8AC3E}">
        <p14:creationId xmlns:p14="http://schemas.microsoft.com/office/powerpoint/2010/main" val="27790489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55CEB9-7A32-611F-F6E7-65A8C3DDF1AA}"/>
              </a:ext>
            </a:extLst>
          </p:cNvPr>
          <p:cNvSpPr>
            <a:spLocks noGrp="1"/>
          </p:cNvSpPr>
          <p:nvPr>
            <p:ph type="title"/>
          </p:nvPr>
        </p:nvSpPr>
        <p:spPr/>
        <p:txBody>
          <a:bodyPr>
            <a:normAutofit/>
          </a:bodyPr>
          <a:lstStyle/>
          <a:p>
            <a:r>
              <a:rPr lang="en-US" sz="4000" b="1" dirty="0"/>
              <a:t>BP #2 – Don’t make decisions in a vacuum</a:t>
            </a:r>
          </a:p>
        </p:txBody>
      </p:sp>
      <p:sp>
        <p:nvSpPr>
          <p:cNvPr id="3" name="Content Placeholder 2">
            <a:extLst>
              <a:ext uri="{FF2B5EF4-FFF2-40B4-BE49-F238E27FC236}">
                <a16:creationId xmlns:a16="http://schemas.microsoft.com/office/drawing/2014/main" id="{F048DBB4-CDEE-4F38-5AD8-36A31DCBF30E}"/>
              </a:ext>
            </a:extLst>
          </p:cNvPr>
          <p:cNvSpPr>
            <a:spLocks noGrp="1"/>
          </p:cNvSpPr>
          <p:nvPr>
            <p:ph idx="1"/>
          </p:nvPr>
        </p:nvSpPr>
        <p:spPr/>
        <p:txBody>
          <a:bodyPr>
            <a:normAutofit/>
          </a:bodyPr>
          <a:lstStyle/>
          <a:p>
            <a:r>
              <a:rPr lang="en-US" altLang="en-US" dirty="0">
                <a:solidFill>
                  <a:schemeClr val="tx1"/>
                </a:solidFill>
              </a:rPr>
              <a:t>Other laws that may require accommodation /leave for reasons other than disability:</a:t>
            </a:r>
          </a:p>
          <a:p>
            <a:pPr lvl="1"/>
            <a:r>
              <a:rPr lang="en-US" altLang="en-US" dirty="0">
                <a:solidFill>
                  <a:schemeClr val="tx1"/>
                </a:solidFill>
              </a:rPr>
              <a:t>Religion</a:t>
            </a:r>
          </a:p>
          <a:p>
            <a:pPr lvl="1"/>
            <a:r>
              <a:rPr lang="en-US" altLang="en-US" dirty="0">
                <a:solidFill>
                  <a:schemeClr val="tx1"/>
                </a:solidFill>
              </a:rPr>
              <a:t>Pregnancy and related conditions</a:t>
            </a:r>
          </a:p>
          <a:p>
            <a:pPr lvl="1"/>
            <a:r>
              <a:rPr lang="en-US" altLang="en-US" dirty="0">
                <a:solidFill>
                  <a:schemeClr val="tx1"/>
                </a:solidFill>
              </a:rPr>
              <a:t>Menopause</a:t>
            </a:r>
          </a:p>
          <a:p>
            <a:pPr lvl="1"/>
            <a:r>
              <a:rPr lang="en-US" altLang="en-US" dirty="0">
                <a:solidFill>
                  <a:schemeClr val="tx1"/>
                </a:solidFill>
              </a:rPr>
              <a:t>Association with a person with a disability</a:t>
            </a:r>
          </a:p>
          <a:p>
            <a:pPr lvl="1"/>
            <a:r>
              <a:rPr lang="en-US" altLang="en-US" dirty="0">
                <a:solidFill>
                  <a:schemeClr val="tx1"/>
                </a:solidFill>
              </a:rPr>
              <a:t>Domestic violence</a:t>
            </a:r>
          </a:p>
          <a:p>
            <a:pPr marL="457200" lvl="1" indent="0">
              <a:buNone/>
            </a:pPr>
            <a:endParaRPr lang="en-US" altLang="en-US" dirty="0">
              <a:solidFill>
                <a:schemeClr val="tx1"/>
              </a:solidFill>
            </a:endParaRPr>
          </a:p>
          <a:p>
            <a:r>
              <a:rPr lang="en-US" altLang="en-US" dirty="0">
                <a:solidFill>
                  <a:schemeClr val="tx1"/>
                </a:solidFill>
              </a:rPr>
              <a:t>This presentation (like the EEOC FAQ document) focuses on accommodations for </a:t>
            </a:r>
            <a:r>
              <a:rPr lang="en-US" altLang="en-US" i="1" dirty="0">
                <a:solidFill>
                  <a:schemeClr val="tx1"/>
                </a:solidFill>
              </a:rPr>
              <a:t>employees with disabilities.</a:t>
            </a:r>
            <a:r>
              <a:rPr lang="en-US" altLang="en-US" dirty="0">
                <a:solidFill>
                  <a:schemeClr val="tx1"/>
                </a:solidFill>
              </a:rPr>
              <a:t>  </a:t>
            </a:r>
          </a:p>
        </p:txBody>
      </p:sp>
    </p:spTree>
    <p:extLst>
      <p:ext uri="{BB962C8B-B14F-4D97-AF65-F5344CB8AC3E}">
        <p14:creationId xmlns:p14="http://schemas.microsoft.com/office/powerpoint/2010/main" val="38031057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yov6BcipYLf4mglXqr7Ng"/>
</p:tagLst>
</file>

<file path=ppt/theme/theme1.xml><?xml version="1.0" encoding="utf-8"?>
<a:theme xmlns:a="http://schemas.openxmlformats.org/drawingml/2006/main" name="Office Theme">
  <a:themeElements>
    <a:clrScheme name="Custom 4">
      <a:dk1>
        <a:sysClr val="windowText" lastClr="000000"/>
      </a:dk1>
      <a:lt1>
        <a:sysClr val="window" lastClr="FFFFFF"/>
      </a:lt1>
      <a:dk2>
        <a:srgbClr val="00447B"/>
      </a:dk2>
      <a:lt2>
        <a:srgbClr val="E7E6E6"/>
      </a:lt2>
      <a:accent1>
        <a:srgbClr val="5AA5DB"/>
      </a:accent1>
      <a:accent2>
        <a:srgbClr val="0E2C42"/>
      </a:accent2>
      <a:accent3>
        <a:srgbClr val="555555"/>
      </a:accent3>
      <a:accent4>
        <a:srgbClr val="E8E8E8"/>
      </a:accent4>
      <a:accent5>
        <a:srgbClr val="4472C4"/>
      </a:accent5>
      <a:accent6>
        <a:srgbClr val="70AD47"/>
      </a:accent6>
      <a:hlink>
        <a:srgbClr val="5AA5DB"/>
      </a:hlink>
      <a:folHlink>
        <a:srgbClr val="954F72"/>
      </a:folHlink>
    </a:clrScheme>
    <a:fontScheme name="Abstract PPT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Category xmlns="e8df1450-8e28-48cf-b599-c9e91c6de9f9">
      <Value>Templates</Value>
    </Category>
    <TaxCatchAll xmlns="6ac50d4a-bb12-4184-9d9a-686bec9743fc">
      <Value>410</Value>
    </TaxCatchAl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E4B70F88C60144E8DC7DFCB84809370" ma:contentTypeVersion="18" ma:contentTypeDescription="Create a new document." ma:contentTypeScope="" ma:versionID="6f66a02ffb3a68e526ca7fb7d97afc6e">
  <xsd:schema xmlns:xsd="http://www.w3.org/2001/XMLSchema" xmlns:xs="http://www.w3.org/2001/XMLSchema" xmlns:p="http://schemas.microsoft.com/office/2006/metadata/properties" xmlns:ns2="6ac50d4a-bb12-4184-9d9a-686bec9743fc" xmlns:ns3="e8df1450-8e28-48cf-b599-c9e91c6de9f9" targetNamespace="http://schemas.microsoft.com/office/2006/metadata/properties" ma:root="true" ma:fieldsID="53429b852f0c98e3ea5441e4a44cc7dc" ns2:_="" ns3:_="">
    <xsd:import namespace="6ac50d4a-bb12-4184-9d9a-686bec9743fc"/>
    <xsd:import namespace="e8df1450-8e28-48cf-b599-c9e91c6de9f9"/>
    <xsd:element name="properties">
      <xsd:complexType>
        <xsd:sequence>
          <xsd:element name="documentManagement">
            <xsd:complexType>
              <xsd:all>
                <xsd:element ref="ns2:TaxCatchAll" minOccurs="0"/>
                <xsd:element ref="ns3:Categor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ac50d4a-bb12-4184-9d9a-686bec9743fc" elementFormDefault="qualified">
    <xsd:import namespace="http://schemas.microsoft.com/office/2006/documentManagement/types"/>
    <xsd:import namespace="http://schemas.microsoft.com/office/infopath/2007/PartnerControls"/>
    <xsd:element name="TaxCatchAll" ma:index="8" nillable="true" ma:displayName="Taxonomy Catch All Column" ma:hidden="true" ma:list="{806414af-61e6-4601-addb-0e44ab5c5751}" ma:internalName="TaxCatchAll" ma:showField="CatchAllData" ma:web="6ac50d4a-bb12-4184-9d9a-686bec9743fc">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8df1450-8e28-48cf-b599-c9e91c6de9f9" elementFormDefault="qualified">
    <xsd:import namespace="http://schemas.microsoft.com/office/2006/documentManagement/types"/>
    <xsd:import namespace="http://schemas.microsoft.com/office/infopath/2007/PartnerControls"/>
    <xsd:element name="Category" ma:index="9" nillable="true" ma:displayName="Category" ma:format="Dropdown" ma:internalName="Category" ma:readOnly="false">
      <xsd:complexType>
        <xsd:complexContent>
          <xsd:extension base="dms:MultiChoice">
            <xsd:sequence>
              <xsd:element name="Value" maxOccurs="unbounded" minOccurs="0" nillable="true">
                <xsd:simpleType>
                  <xsd:restriction base="dms:Choice">
                    <xsd:enumeration value="About Us"/>
                    <xsd:enumeration value="Ad-CreativeProj"/>
                    <xsd:enumeration value="Aderant"/>
                    <xsd:enumeration value="Agenda"/>
                    <xsd:enumeration value="Alternate Rates Review"/>
                    <xsd:enumeration value="Article"/>
                    <xsd:enumeration value="Attachment-News"/>
                    <xsd:enumeration value="Audit Requests"/>
                    <xsd:enumeration value="Benefits"/>
                    <xsd:enumeration value="Benefits Enrollment"/>
                    <xsd:enumeration value="Benefits Notification"/>
                    <xsd:enumeration value="BillBack"/>
                    <xsd:enumeration value="Billing"/>
                    <xsd:enumeration value="Blog"/>
                    <xsd:enumeration value="BNA"/>
                    <xsd:enumeration value="Brochures"/>
                    <xsd:enumeration value="Checklists"/>
                    <xsd:enumeration value="CLE - Continuing Legal Ed"/>
                    <xsd:enumeration value="Client Communications"/>
                    <xsd:enumeration value="Codes"/>
                    <xsd:enumeration value="Codes-Activity&amp;Task"/>
                    <xsd:enumeration value="Communication and Reports"/>
                    <xsd:enumeration value="Compose"/>
                    <xsd:enumeration value="CR - Credit Card"/>
                    <xsd:enumeration value="CR - Expense"/>
                    <xsd:enumeration value="CR - Invoice"/>
                    <xsd:enumeration value="Direct Deposit"/>
                    <xsd:enumeration value="Discussion Questions"/>
                    <xsd:enumeration value="Docketing"/>
                    <xsd:enumeration value="Documentation"/>
                    <xsd:enumeration value="eBilling"/>
                    <xsd:enumeration value="Education"/>
                    <xsd:enumeration value="EEO Advantage"/>
                    <xsd:enumeration value="Events"/>
                    <xsd:enumeration value="Expense Reimbursements"/>
                    <xsd:enumeration value="Extracts"/>
                    <xsd:enumeration value="Firm Leadership"/>
                    <xsd:enumeration value="Forms"/>
                    <xsd:enumeration value="General"/>
                    <xsd:enumeration value="Guidebooks"/>
                    <xsd:enumeration value="Guidelines"/>
                    <xsd:enumeration value="Hotels"/>
                    <xsd:enumeration value="IA Reports"/>
                    <xsd:enumeration value="IA Training"/>
                    <xsd:enumeration value="Immigration Billing"/>
                    <xsd:enumeration value="IntelliCase"/>
                    <xsd:enumeration value="InterAction"/>
                    <xsd:enumeration value="InterCall"/>
                    <xsd:enumeration value="International"/>
                    <xsd:enumeration value="Invoices"/>
                    <xsd:enumeration value="KARLOS"/>
                    <xsd:enumeration value="Labor Law Solutions"/>
                    <xsd:enumeration value="Lawcountability"/>
                    <xsd:enumeration value="LECE"/>
                    <xsd:enumeration value="LegalMation"/>
                    <xsd:enumeration value="Lexis"/>
                    <xsd:enumeration value="Licensing"/>
                    <xsd:enumeration value="Logos"/>
                    <xsd:enumeration value="Manzama"/>
                    <xsd:enumeration value="Maps"/>
                    <xsd:enumeration value="Marketing"/>
                    <xsd:enumeration value="Matter Budgeting"/>
                    <xsd:enumeration value="Matter Planning"/>
                    <xsd:enumeration value="Membership List"/>
                    <xsd:enumeration value="Metrics"/>
                    <xsd:enumeration value="Newsletter"/>
                    <xsd:enumeration value="ODConnect"/>
                    <xsd:enumeration value="ODPro"/>
                    <xsd:enumeration value="ODSearch"/>
                    <xsd:enumeration value="ODWIN"/>
                    <xsd:enumeration value="Open Enrollment"/>
                    <xsd:enumeration value="Org Chart"/>
                    <xsd:enumeration value="Overview"/>
                    <xsd:enumeration value="PACER/ECF"/>
                    <xsd:enumeration value="Payroll"/>
                    <xsd:enumeration value="PHI - Protected Health Information"/>
                    <xsd:enumeration value="Policy"/>
                    <xsd:enumeration value="Post-Matter Review"/>
                    <xsd:enumeration value="Presentations"/>
                    <xsd:enumeration value="Pricing"/>
                    <xsd:enumeration value="Procedures"/>
                    <xsd:enumeration value="Proformas"/>
                    <xsd:enumeration value="Promotions"/>
                    <xsd:enumeration value="Publications"/>
                    <xsd:enumeration value="Questionnaire"/>
                    <xsd:enumeration value="Quick Checks"/>
                    <xsd:enumeration value="Quick Reports"/>
                    <xsd:enumeration value="QuickBits"/>
                    <xsd:enumeration value="Rates"/>
                    <xsd:enumeration value="Recommended Reading"/>
                    <xsd:enumeration value="Remote Access"/>
                    <xsd:enumeration value="Research Services"/>
                    <xsd:enumeration value="Resources"/>
                    <xsd:enumeration value="RFPs &amp; Pitches"/>
                    <xsd:enumeration value="Samples"/>
                    <xsd:enumeration value="Scoping and Pricing"/>
                    <xsd:enumeration value="Security"/>
                    <xsd:enumeration value="Seminar Tools"/>
                    <xsd:enumeration value="Shareholder Meeting"/>
                    <xsd:enumeration value="Shareholder Onboarding"/>
                    <xsd:enumeration value="Talking Points"/>
                    <xsd:enumeration value="Task Codes"/>
                    <xsd:enumeration value="Tech Tune-Up"/>
                    <xsd:enumeration value="Templates"/>
                    <xsd:enumeration value="Timekeeping"/>
                    <xsd:enumeration value="Toolkit"/>
                    <xsd:enumeration value="Training"/>
                    <xsd:enumeration value="Trust"/>
                    <xsd:enumeration value="UltiPro"/>
                    <xsd:enumeration value="UMUC Alliance"/>
                    <xsd:enumeration value="Uploads"/>
                    <xsd:enumeration value="Vendors"/>
                    <xsd:enumeration value="Video"/>
                    <xsd:enumeration value="Webinar"/>
                    <xsd:enumeration value="Webview"/>
                    <xsd:enumeration value="Well-Being"/>
                    <xsd:enumeration value="Westlaw"/>
                    <xsd:enumeration value="Wire Transfers"/>
                    <xsd:enumeration value="Workflow"/>
                    <xsd:enumeration value="Workplace Strategies"/>
                    <xsd:enumeration value="Xcelerate"/>
                    <xsd:enumeration value="Handout"/>
                    <xsd:enumeration value="Business Resource Group (BRG)"/>
                  </xsd:restriction>
                </xsd:simple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2C72B5A-18F5-421E-B7F7-A6A3492E00D6}">
  <ds:schemaRefs>
    <ds:schemaRef ds:uri="http://schemas.microsoft.com/sharepoint/v3/contenttype/forms"/>
  </ds:schemaRefs>
</ds:datastoreItem>
</file>

<file path=customXml/itemProps2.xml><?xml version="1.0" encoding="utf-8"?>
<ds:datastoreItem xmlns:ds="http://schemas.openxmlformats.org/officeDocument/2006/customXml" ds:itemID="{290F4299-8228-4D1E-AD6B-82E968907A83}">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e8df1450-8e28-48cf-b599-c9e91c6de9f9"/>
    <ds:schemaRef ds:uri="6ac50d4a-bb12-4184-9d9a-686bec9743fc"/>
    <ds:schemaRef ds:uri="http://www.w3.org/XML/1998/namespace"/>
    <ds:schemaRef ds:uri="http://purl.org/dc/dcmitype/"/>
  </ds:schemaRefs>
</ds:datastoreItem>
</file>

<file path=customXml/itemProps3.xml><?xml version="1.0" encoding="utf-8"?>
<ds:datastoreItem xmlns:ds="http://schemas.openxmlformats.org/officeDocument/2006/customXml" ds:itemID="{F2A474AA-CE9C-4C94-9D9D-3DDBE3AD366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ac50d4a-bb12-4184-9d9a-686bec9743fc"/>
    <ds:schemaRef ds:uri="e8df1450-8e28-48cf-b599-c9e91c6de9f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0745</TotalTime>
  <Words>3368</Words>
  <Application>Microsoft Office PowerPoint</Application>
  <PresentationFormat>Widescreen</PresentationFormat>
  <Paragraphs>243</Paragraphs>
  <Slides>43</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43</vt:i4>
      </vt:variant>
    </vt:vector>
  </HeadingPairs>
  <TitlesOfParts>
    <vt:vector size="50" baseType="lpstr">
      <vt:lpstr>Arial</vt:lpstr>
      <vt:lpstr>Calibri</vt:lpstr>
      <vt:lpstr>Corbel</vt:lpstr>
      <vt:lpstr>Futura Md BT</vt:lpstr>
      <vt:lpstr>Wingdings</vt:lpstr>
      <vt:lpstr>Office Theme</vt:lpstr>
      <vt:lpstr>think-cell Slide</vt:lpstr>
      <vt:lpstr>PowerPoint Presentation</vt:lpstr>
      <vt:lpstr>Accommodation Cases are Rising </vt:lpstr>
      <vt:lpstr>Legal Landscape – the Framework</vt:lpstr>
      <vt:lpstr>Updated Playbook (The EEOC issued new FAQs)</vt:lpstr>
      <vt:lpstr>Draft Day Hypo 1</vt:lpstr>
      <vt:lpstr>Draft Day Hypo 2</vt:lpstr>
      <vt:lpstr>Draft Day Hypo 3</vt:lpstr>
      <vt:lpstr>Best Practice (BP) #1 – The Interactive Process</vt:lpstr>
      <vt:lpstr>BP #2 – Don’t make decisions in a vacuum</vt:lpstr>
      <vt:lpstr>Legal Landscape for Accommodating Disabilities</vt:lpstr>
      <vt:lpstr>Legal Landscape – the Framework</vt:lpstr>
      <vt:lpstr>Use the Interactive Process to Get the Facts and to Brainstorm Solutions</vt:lpstr>
      <vt:lpstr>2026 EEOC FAQs</vt:lpstr>
      <vt:lpstr>Draft Day Hypo 4.  Is Prospect’s request for 12-14 weeks of additional leave a reasonable accommodation?</vt:lpstr>
      <vt:lpstr>EEOC FAQ re: Anxiety</vt:lpstr>
      <vt:lpstr>Still Anxious?</vt:lpstr>
      <vt:lpstr>Draft Day Hypo 5 – Commuting?</vt:lpstr>
      <vt:lpstr>Commuting</vt:lpstr>
      <vt:lpstr>Hierarchy of Accommodations</vt:lpstr>
      <vt:lpstr>BP #4 – Additional Leave Can be an Accommodation</vt:lpstr>
      <vt:lpstr>EEOC FAQ on Leave v. Remote work</vt:lpstr>
      <vt:lpstr>When is too much leave an undue hardship?</vt:lpstr>
      <vt:lpstr>BP #5 – Get Sufficient Information</vt:lpstr>
      <vt:lpstr>Mistakes and lessons learned</vt:lpstr>
      <vt:lpstr>EEOC FAQ – Requesting Medical Information</vt:lpstr>
      <vt:lpstr>Mistakes and lessons learned</vt:lpstr>
      <vt:lpstr>Mistakes and lessons learned</vt:lpstr>
      <vt:lpstr>Draft Day Hypo 6 –  New Coach Wants to Change the Goalposts</vt:lpstr>
      <vt:lpstr>Revisiting Approved Accommodations</vt:lpstr>
      <vt:lpstr>EEOC FAQ – Make Fact-Specific, Informed Decisions Prior to Changing Up Previously-Approved Accommodations</vt:lpstr>
      <vt:lpstr>Does Once Approved = Always Reasonable?</vt:lpstr>
      <vt:lpstr>BP #6 – No Request is Ever Final</vt:lpstr>
      <vt:lpstr>BP #7 – Don’t Skip the Process</vt:lpstr>
      <vt:lpstr>BP #8 – Don’t Drop the Ball on the Interactive Process</vt:lpstr>
      <vt:lpstr>BP #9 – Show your Work</vt:lpstr>
      <vt:lpstr>BP #10 – GC’s Role as Cheerleader</vt:lpstr>
      <vt:lpstr>Best practices for evaluating remote work requests</vt:lpstr>
      <vt:lpstr>Best practices</vt:lpstr>
      <vt:lpstr>Recent Cases 1 – ERs who skip the process lose</vt:lpstr>
      <vt:lpstr>Recent Cases 2 – ERs win when they outlast EEs and have specific facts to show undue hardship</vt:lpstr>
      <vt:lpstr>Recent Cases 3 – ERs win when they outlast EEs and have specific facts to show undue hardship</vt:lpstr>
      <vt:lpstr>Considerations for Telework Policies</vt:lpstr>
      <vt:lpstr>Questions?</vt:lpstr>
    </vt:vector>
  </TitlesOfParts>
  <Company>Ogletre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bstract - PPT Template</dc:title>
  <dc:creator>Wilson, Dawn A.</dc:creator>
  <cp:lastModifiedBy>Baillie, Karen</cp:lastModifiedBy>
  <cp:revision>403</cp:revision>
  <dcterms:created xsi:type="dcterms:W3CDTF">2018-12-05T18:46:56Z</dcterms:created>
  <dcterms:modified xsi:type="dcterms:W3CDTF">2026-04-02T16:15: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r8>303900</vt:r8>
  </property>
  <property fmtid="{D5CDD505-2E9C-101B-9397-08002B2CF9AE}" pid="3" name="Content Audience (M)">
    <vt:lpwstr>62;#Client Services|86e02d2c-db2f-48b9-af2a-4251f8be1328</vt:lpwstr>
  </property>
  <property fmtid="{D5CDD505-2E9C-101B-9397-08002B2CF9AE}" pid="4" name="Featured">
    <vt:bool>false</vt:bool>
  </property>
  <property fmtid="{D5CDD505-2E9C-101B-9397-08002B2CF9AE}" pid="5" name="f3107f0c9653409ba8036cc67e13969e">
    <vt:lpwstr>Client Services|3e639938-6485-4c3c-9e95-5cbe57801fd2</vt:lpwstr>
  </property>
  <property fmtid="{D5CDD505-2E9C-101B-9397-08002B2CF9AE}" pid="6" name="ContentTypeId">
    <vt:lpwstr>0x0101008E4B70F88C60144E8DC7DFCB84809370</vt:lpwstr>
  </property>
  <property fmtid="{D5CDD505-2E9C-101B-9397-08002B2CF9AE}" pid="7" name="_dlc_DocIdItemGuid">
    <vt:lpwstr>cf9bb2d1-5047-423c-bd34-88b660192f81</vt:lpwstr>
  </property>
  <property fmtid="{D5CDD505-2E9C-101B-9397-08002B2CF9AE}" pid="8" name="_ExtendedDescription">
    <vt:lpwstr/>
  </property>
  <property fmtid="{D5CDD505-2E9C-101B-9397-08002B2CF9AE}" pid="9" name="ContentAudience">
    <vt:lpwstr>410;#Client Services|3e639938-6485-4c3c-9e95-5cbe57801fd2</vt:lpwstr>
  </property>
  <property fmtid="{D5CDD505-2E9C-101B-9397-08002B2CF9AE}" pid="10" name="Dept">
    <vt:lpwstr/>
  </property>
  <property fmtid="{D5CDD505-2E9C-101B-9397-08002B2CF9AE}" pid="11" name="ODJobTitle">
    <vt:lpwstr/>
  </property>
  <property fmtid="{D5CDD505-2E9C-101B-9397-08002B2CF9AE}" pid="12" name="ODRole">
    <vt:lpwstr/>
  </property>
  <property fmtid="{D5CDD505-2E9C-101B-9397-08002B2CF9AE}" pid="13" name="ODDepartment">
    <vt:lpwstr/>
  </property>
  <property fmtid="{D5CDD505-2E9C-101B-9397-08002B2CF9AE}" pid="14" name="g1b6134d061445d48492a0c6500be964">
    <vt:lpwstr/>
  </property>
  <property fmtid="{D5CDD505-2E9C-101B-9397-08002B2CF9AE}" pid="15" name="p3c8d3626125442b9d96c5f175144d31">
    <vt:lpwstr/>
  </property>
  <property fmtid="{D5CDD505-2E9C-101B-9397-08002B2CF9AE}" pid="16" name="ODLocation">
    <vt:lpwstr/>
  </property>
  <property fmtid="{D5CDD505-2E9C-101B-9397-08002B2CF9AE}" pid="17" name="cab2b3288e6e43bfbf2ef2d2c28afca2">
    <vt:lpwstr/>
  </property>
  <property fmtid="{D5CDD505-2E9C-101B-9397-08002B2CF9AE}" pid="18" name="ODPracticeGroup">
    <vt:lpwstr/>
  </property>
  <property fmtid="{D5CDD505-2E9C-101B-9397-08002B2CF9AE}" pid="19" name="b2bbd117066947d2a47cb27a0d94cc29">
    <vt:lpwstr/>
  </property>
  <property fmtid="{D5CDD505-2E9C-101B-9397-08002B2CF9AE}" pid="20" name="i9ca23b0db0f4b53825dd252c143af46">
    <vt:lpwstr/>
  </property>
</Properties>
</file>